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5"/>
  </p:notesMasterIdLst>
  <p:handoutMasterIdLst>
    <p:handoutMasterId r:id="rId26"/>
  </p:handoutMasterIdLst>
  <p:sldIdLst>
    <p:sldId id="384" r:id="rId2"/>
    <p:sldId id="4983" r:id="rId3"/>
    <p:sldId id="385" r:id="rId4"/>
    <p:sldId id="5020" r:id="rId5"/>
    <p:sldId id="5000" r:id="rId6"/>
    <p:sldId id="5013" r:id="rId7"/>
    <p:sldId id="5021" r:id="rId8"/>
    <p:sldId id="5022" r:id="rId9"/>
    <p:sldId id="5023" r:id="rId10"/>
    <p:sldId id="5024" r:id="rId11"/>
    <p:sldId id="5026" r:id="rId12"/>
    <p:sldId id="5025" r:id="rId13"/>
    <p:sldId id="392" r:id="rId14"/>
    <p:sldId id="5019" r:id="rId15"/>
    <p:sldId id="4985" r:id="rId16"/>
    <p:sldId id="5014" r:id="rId17"/>
    <p:sldId id="5018" r:id="rId18"/>
    <p:sldId id="261" r:id="rId19"/>
    <p:sldId id="4991" r:id="rId20"/>
    <p:sldId id="5010" r:id="rId21"/>
    <p:sldId id="396" r:id="rId22"/>
    <p:sldId id="401" r:id="rId23"/>
    <p:sldId id="5011" r:id="rId24"/>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0AD7731-5323-4D0A-8FAA-BA4C01172733}">
          <p14:sldIdLst>
            <p14:sldId id="384"/>
            <p14:sldId id="4983"/>
            <p14:sldId id="385"/>
            <p14:sldId id="5020"/>
            <p14:sldId id="5000"/>
            <p14:sldId id="5013"/>
            <p14:sldId id="5021"/>
            <p14:sldId id="5022"/>
            <p14:sldId id="5023"/>
            <p14:sldId id="5024"/>
            <p14:sldId id="5026"/>
            <p14:sldId id="5025"/>
            <p14:sldId id="392"/>
            <p14:sldId id="5019"/>
            <p14:sldId id="4985"/>
            <p14:sldId id="5014"/>
            <p14:sldId id="5018"/>
            <p14:sldId id="261"/>
            <p14:sldId id="4991"/>
            <p14:sldId id="5010"/>
            <p14:sldId id="396"/>
            <p14:sldId id="401"/>
            <p14:sldId id="501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initials="BC(" userId="S::Chantal.Bemeur@tpsgc-pwgsc.gc.ca::97d9d3ea-19b5-4147-b2f7-c6eb9c5930c3" providerId="AD"/>
  <p188:author id="{617F8A1F-6738-84AE-A7AD-BF406039386C}" name="Rickey Haley-Colpitts" initials="RH" userId="S::Rickey.Haley-Colpitts@bgis.com::d450c491-4712-4c27-9f1d-d9034ee29bdf" providerId="AD"/>
  <p188:author id="{B82E8466-83BB-6317-73B9-A51F2FE0BC10}" name="Pare, Carine (SPAC/PSPC)" initials="PC(" userId="S::Carine.Pare@tpsgc-pwgsc.gc.ca::71f88b2f-db4c-4269-9577-1025f7fc6543" providerId="AD"/>
  <p188:author id="{685D0F8D-5798-DA56-B0ED-0D6E00F4CB73}" name="Dion3, Alain (SPAC/PSPC)" initials="DA(" userId="S::alain.dion3@tpsgc-pwgsc.gc.ca::b5972ad0-fee1-4393-9fd4-8bc589782ac7"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20"/>
    <a:srgbClr val="C0DFEF"/>
    <a:srgbClr val="6D6E71"/>
    <a:srgbClr val="FCEED2"/>
    <a:srgbClr val="000000"/>
    <a:srgbClr val="8B8B8B"/>
    <a:srgbClr val="888888"/>
    <a:srgbClr val="898989"/>
    <a:srgbClr val="A8CF76"/>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EA5CCD-CDB7-477E-8756-157B9A0B9D9F}" v="43" dt="2024-07-31T18:08:33.6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24" autoAdjust="0"/>
    <p:restoredTop sz="82567" autoAdjust="0"/>
  </p:normalViewPr>
  <p:slideViewPr>
    <p:cSldViewPr snapToGrid="0" snapToObjects="1">
      <p:cViewPr varScale="1">
        <p:scale>
          <a:sx n="91" d="100"/>
          <a:sy n="91" d="100"/>
        </p:scale>
        <p:origin x="1362" y="90"/>
      </p:cViewPr>
      <p:guideLst/>
    </p:cSldViewPr>
  </p:slideViewPr>
  <p:outlineViewPr>
    <p:cViewPr>
      <p:scale>
        <a:sx n="33" d="100"/>
        <a:sy n="33" d="100"/>
      </p:scale>
      <p:origin x="0" y="-1002"/>
    </p:cViewPr>
  </p:outlin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 Id="rId35"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gee, Jeffrey (SPAC/PSPC)" userId="e10f0e9c-c03f-4fde-9113-11216b420c44" providerId="ADAL" clId="{46F057F1-27C1-40A1-8A99-FE31E2DB9853}"/>
    <pc:docChg chg="addSld delSld modSld modSection">
      <pc:chgData name="Elgee, Jeffrey (SPAC/PSPC)" userId="e10f0e9c-c03f-4fde-9113-11216b420c44" providerId="ADAL" clId="{46F057F1-27C1-40A1-8A99-FE31E2DB9853}" dt="2024-06-04T18:40:19.578" v="35" actId="20577"/>
      <pc:docMkLst>
        <pc:docMk/>
      </pc:docMkLst>
      <pc:sldChg chg="modSp mod">
        <pc:chgData name="Elgee, Jeffrey (SPAC/PSPC)" userId="e10f0e9c-c03f-4fde-9113-11216b420c44" providerId="ADAL" clId="{46F057F1-27C1-40A1-8A99-FE31E2DB9853}" dt="2024-06-04T18:40:19.578" v="35" actId="20577"/>
        <pc:sldMkLst>
          <pc:docMk/>
          <pc:sldMk cId="2077896438" sldId="387"/>
        </pc:sldMkLst>
        <pc:spChg chg="mod">
          <ac:chgData name="Elgee, Jeffrey (SPAC/PSPC)" userId="e10f0e9c-c03f-4fde-9113-11216b420c44" providerId="ADAL" clId="{46F057F1-27C1-40A1-8A99-FE31E2DB9853}" dt="2024-06-04T18:32:58.357" v="19" actId="20577"/>
          <ac:spMkLst>
            <pc:docMk/>
            <pc:sldMk cId="2077896438" sldId="387"/>
            <ac:spMk id="2" creationId="{530A314D-74C9-43F8-A8C5-E61B4C92159E}"/>
          </ac:spMkLst>
        </pc:spChg>
        <pc:spChg chg="mod">
          <ac:chgData name="Elgee, Jeffrey (SPAC/PSPC)" userId="e10f0e9c-c03f-4fde-9113-11216b420c44" providerId="ADAL" clId="{46F057F1-27C1-40A1-8A99-FE31E2DB9853}" dt="2024-06-04T18:40:19.578" v="35" actId="20577"/>
          <ac:spMkLst>
            <pc:docMk/>
            <pc:sldMk cId="2077896438" sldId="387"/>
            <ac:spMk id="5" creationId="{C1D81310-6166-4605-A7EB-ECE2608BB2C5}"/>
          </ac:spMkLst>
        </pc:spChg>
      </pc:sldChg>
      <pc:sldChg chg="del">
        <pc:chgData name="Elgee, Jeffrey (SPAC/PSPC)" userId="e10f0e9c-c03f-4fde-9113-11216b420c44" providerId="ADAL" clId="{46F057F1-27C1-40A1-8A99-FE31E2DB9853}" dt="2024-06-04T18:32:34.640" v="3" actId="47"/>
        <pc:sldMkLst>
          <pc:docMk/>
          <pc:sldMk cId="2222960284" sldId="388"/>
        </pc:sldMkLst>
      </pc:sldChg>
      <pc:sldChg chg="modSp mod">
        <pc:chgData name="Elgee, Jeffrey (SPAC/PSPC)" userId="e10f0e9c-c03f-4fde-9113-11216b420c44" providerId="ADAL" clId="{46F057F1-27C1-40A1-8A99-FE31E2DB9853}" dt="2024-06-04T18:28:52.409" v="1" actId="1076"/>
        <pc:sldMkLst>
          <pc:docMk/>
          <pc:sldMk cId="986189170" sldId="393"/>
        </pc:sldMkLst>
        <pc:grpChg chg="mod">
          <ac:chgData name="Elgee, Jeffrey (SPAC/PSPC)" userId="e10f0e9c-c03f-4fde-9113-11216b420c44" providerId="ADAL" clId="{46F057F1-27C1-40A1-8A99-FE31E2DB9853}" dt="2024-06-04T18:28:52.409" v="1" actId="1076"/>
          <ac:grpSpMkLst>
            <pc:docMk/>
            <pc:sldMk cId="986189170" sldId="393"/>
            <ac:grpSpMk id="39" creationId="{C2191868-CCF5-4452-B018-92CA700DC7A2}"/>
          </ac:grpSpMkLst>
        </pc:grpChg>
      </pc:sldChg>
      <pc:sldChg chg="add">
        <pc:chgData name="Elgee, Jeffrey (SPAC/PSPC)" userId="e10f0e9c-c03f-4fde-9113-11216b420c44" providerId="ADAL" clId="{46F057F1-27C1-40A1-8A99-FE31E2DB9853}" dt="2024-06-04T18:32:31.116" v="2"/>
        <pc:sldMkLst>
          <pc:docMk/>
          <pc:sldMk cId="625183133" sldId="4986"/>
        </pc:sldMkLst>
      </pc:sldChg>
      <pc:sldChg chg="add">
        <pc:chgData name="Elgee, Jeffrey (SPAC/PSPC)" userId="e10f0e9c-c03f-4fde-9113-11216b420c44" providerId="ADAL" clId="{46F057F1-27C1-40A1-8A99-FE31E2DB9853}" dt="2024-06-04T18:32:31.116" v="2"/>
        <pc:sldMkLst>
          <pc:docMk/>
          <pc:sldMk cId="581567723" sldId="4998"/>
        </pc:sldMkLst>
      </pc:sldChg>
    </pc:docChg>
  </pc:docChgLst>
  <pc:docChgLst>
    <pc:chgData name="Elgee, Jeffrey (SPAC/PSPC)" userId="e10f0e9c-c03f-4fde-9113-11216b420c44" providerId="ADAL" clId="{0BEA5CCD-CDB7-477E-8756-157B9A0B9D9F}"/>
    <pc:docChg chg="undo redo custSel addSld delSld modSld sldOrd modMainMaster delSection modSection">
      <pc:chgData name="Elgee, Jeffrey (SPAC/PSPC)" userId="e10f0e9c-c03f-4fde-9113-11216b420c44" providerId="ADAL" clId="{0BEA5CCD-CDB7-477E-8756-157B9A0B9D9F}" dt="2024-08-15T14:30:11.852" v="5608" actId="20577"/>
      <pc:docMkLst>
        <pc:docMk/>
      </pc:docMkLst>
      <pc:sldChg chg="addSp modSp add mod ord">
        <pc:chgData name="Elgee, Jeffrey (SPAC/PSPC)" userId="e10f0e9c-c03f-4fde-9113-11216b420c44" providerId="ADAL" clId="{0BEA5CCD-CDB7-477E-8756-157B9A0B9D9F}" dt="2024-08-14T17:04:07.108" v="4750"/>
        <pc:sldMkLst>
          <pc:docMk/>
          <pc:sldMk cId="1875387166" sldId="261"/>
        </pc:sldMkLst>
        <pc:spChg chg="add mod">
          <ac:chgData name="Elgee, Jeffrey (SPAC/PSPC)" userId="e10f0e9c-c03f-4fde-9113-11216b420c44" providerId="ADAL" clId="{0BEA5CCD-CDB7-477E-8756-157B9A0B9D9F}" dt="2024-07-30T15:28:03.325" v="2855" actId="1076"/>
          <ac:spMkLst>
            <pc:docMk/>
            <pc:sldMk cId="1875387166" sldId="261"/>
            <ac:spMk id="2" creationId="{521DAF64-A1D9-2214-AA53-D662C0123748}"/>
          </ac:spMkLst>
        </pc:spChg>
        <pc:spChg chg="mod">
          <ac:chgData name="Elgee, Jeffrey (SPAC/PSPC)" userId="e10f0e9c-c03f-4fde-9113-11216b420c44" providerId="ADAL" clId="{0BEA5CCD-CDB7-477E-8756-157B9A0B9D9F}" dt="2024-07-31T18:09:50.388" v="4708" actId="20577"/>
          <ac:spMkLst>
            <pc:docMk/>
            <pc:sldMk cId="1875387166" sldId="261"/>
            <ac:spMk id="7" creationId="{0E5312BC-D894-4EF1-B411-739DA565E3FB}"/>
          </ac:spMkLst>
        </pc:spChg>
        <pc:spChg chg="mod">
          <ac:chgData name="Elgee, Jeffrey (SPAC/PSPC)" userId="e10f0e9c-c03f-4fde-9113-11216b420c44" providerId="ADAL" clId="{0BEA5CCD-CDB7-477E-8756-157B9A0B9D9F}" dt="2024-07-30T15:15:30.207" v="2590" actId="207"/>
          <ac:spMkLst>
            <pc:docMk/>
            <pc:sldMk cId="1875387166" sldId="261"/>
            <ac:spMk id="54" creationId="{5490FC9F-889D-A044-9A24-51CB6BB0725C}"/>
          </ac:spMkLst>
        </pc:spChg>
        <pc:spChg chg="mod">
          <ac:chgData name="Elgee, Jeffrey (SPAC/PSPC)" userId="e10f0e9c-c03f-4fde-9113-11216b420c44" providerId="ADAL" clId="{0BEA5CCD-CDB7-477E-8756-157B9A0B9D9F}" dt="2024-07-30T15:09:35.843" v="2582" actId="1076"/>
          <ac:spMkLst>
            <pc:docMk/>
            <pc:sldMk cId="1875387166" sldId="261"/>
            <ac:spMk id="55" creationId="{C65A198B-1883-1A4B-A8B4-DD725DC9EB17}"/>
          </ac:spMkLst>
        </pc:spChg>
        <pc:spChg chg="mod">
          <ac:chgData name="Elgee, Jeffrey (SPAC/PSPC)" userId="e10f0e9c-c03f-4fde-9113-11216b420c44" providerId="ADAL" clId="{0BEA5CCD-CDB7-477E-8756-157B9A0B9D9F}" dt="2024-07-30T15:15:32.271" v="2594" actId="207"/>
          <ac:spMkLst>
            <pc:docMk/>
            <pc:sldMk cId="1875387166" sldId="261"/>
            <ac:spMk id="56" creationId="{432E7640-9E73-0D40-A6F4-AC27C1BD258B}"/>
          </ac:spMkLst>
        </pc:spChg>
        <pc:picChg chg="add mod">
          <ac:chgData name="Elgee, Jeffrey (SPAC/PSPC)" userId="e10f0e9c-c03f-4fde-9113-11216b420c44" providerId="ADAL" clId="{0BEA5CCD-CDB7-477E-8756-157B9A0B9D9F}" dt="2024-07-30T15:28:03.325" v="2855" actId="1076"/>
          <ac:picMkLst>
            <pc:docMk/>
            <pc:sldMk cId="1875387166" sldId="261"/>
            <ac:picMk id="3" creationId="{734A7774-2621-153F-95FA-7B3031EABDEC}"/>
          </ac:picMkLst>
        </pc:picChg>
      </pc:sldChg>
      <pc:sldChg chg="delSp modSp mod">
        <pc:chgData name="Elgee, Jeffrey (SPAC/PSPC)" userId="e10f0e9c-c03f-4fde-9113-11216b420c44" providerId="ADAL" clId="{0BEA5CCD-CDB7-477E-8756-157B9A0B9D9F}" dt="2024-07-31T15:05:36.012" v="3363" actId="20577"/>
        <pc:sldMkLst>
          <pc:docMk/>
          <pc:sldMk cId="1739606208" sldId="384"/>
        </pc:sldMkLst>
        <pc:spChg chg="mod">
          <ac:chgData name="Elgee, Jeffrey (SPAC/PSPC)" userId="e10f0e9c-c03f-4fde-9113-11216b420c44" providerId="ADAL" clId="{0BEA5CCD-CDB7-477E-8756-157B9A0B9D9F}" dt="2024-07-31T15:05:36.012" v="3363" actId="20577"/>
          <ac:spMkLst>
            <pc:docMk/>
            <pc:sldMk cId="1739606208" sldId="384"/>
            <ac:spMk id="2" creationId="{00000000-0000-0000-0000-000000000000}"/>
          </ac:spMkLst>
        </pc:spChg>
        <pc:picChg chg="del">
          <ac:chgData name="Elgee, Jeffrey (SPAC/PSPC)" userId="e10f0e9c-c03f-4fde-9113-11216b420c44" providerId="ADAL" clId="{0BEA5CCD-CDB7-477E-8756-157B9A0B9D9F}" dt="2024-07-30T13:19:43.981" v="1960" actId="478"/>
          <ac:picMkLst>
            <pc:docMk/>
            <pc:sldMk cId="1739606208" sldId="384"/>
            <ac:picMk id="15" creationId="{34851D0C-FB2D-405F-8356-3B01DC301E96}"/>
          </ac:picMkLst>
        </pc:picChg>
      </pc:sldChg>
      <pc:sldChg chg="addSp delSp modSp mod">
        <pc:chgData name="Elgee, Jeffrey (SPAC/PSPC)" userId="e10f0e9c-c03f-4fde-9113-11216b420c44" providerId="ADAL" clId="{0BEA5CCD-CDB7-477E-8756-157B9A0B9D9F}" dt="2024-07-31T15:16:07.886" v="4037" actId="20577"/>
        <pc:sldMkLst>
          <pc:docMk/>
          <pc:sldMk cId="782836501" sldId="385"/>
        </pc:sldMkLst>
        <pc:spChg chg="mod">
          <ac:chgData name="Elgee, Jeffrey (SPAC/PSPC)" userId="e10f0e9c-c03f-4fde-9113-11216b420c44" providerId="ADAL" clId="{0BEA5CCD-CDB7-477E-8756-157B9A0B9D9F}" dt="2024-07-31T15:07:51.491" v="3403" actId="20577"/>
          <ac:spMkLst>
            <pc:docMk/>
            <pc:sldMk cId="782836501" sldId="385"/>
            <ac:spMk id="2" creationId="{7848FF00-1347-4DA1-9437-1B4A0F154B78}"/>
          </ac:spMkLst>
        </pc:spChg>
        <pc:spChg chg="del mod">
          <ac:chgData name="Elgee, Jeffrey (SPAC/PSPC)" userId="e10f0e9c-c03f-4fde-9113-11216b420c44" providerId="ADAL" clId="{0BEA5CCD-CDB7-477E-8756-157B9A0B9D9F}" dt="2024-07-31T15:07:53.221" v="3405"/>
          <ac:spMkLst>
            <pc:docMk/>
            <pc:sldMk cId="782836501" sldId="385"/>
            <ac:spMk id="3" creationId="{23853901-6C24-42E4-9B2A-CB2C1F1F822C}"/>
          </ac:spMkLst>
        </pc:spChg>
        <pc:spChg chg="add mod">
          <ac:chgData name="Elgee, Jeffrey (SPAC/PSPC)" userId="e10f0e9c-c03f-4fde-9113-11216b420c44" providerId="ADAL" clId="{0BEA5CCD-CDB7-477E-8756-157B9A0B9D9F}" dt="2024-07-31T15:16:07.886" v="4037" actId="20577"/>
          <ac:spMkLst>
            <pc:docMk/>
            <pc:sldMk cId="782836501" sldId="385"/>
            <ac:spMk id="4" creationId="{1BF6AE7D-EA5B-2770-5162-CBDE59225782}"/>
          </ac:spMkLst>
        </pc:spChg>
      </pc:sldChg>
      <pc:sldChg chg="delSp modSp mod">
        <pc:chgData name="Elgee, Jeffrey (SPAC/PSPC)" userId="e10f0e9c-c03f-4fde-9113-11216b420c44" providerId="ADAL" clId="{0BEA5CCD-CDB7-477E-8756-157B9A0B9D9F}" dt="2024-07-30T13:36:26.301" v="1965" actId="1076"/>
        <pc:sldMkLst>
          <pc:docMk/>
          <pc:sldMk cId="1684323998" sldId="386"/>
        </pc:sldMkLst>
        <pc:spChg chg="mod">
          <ac:chgData name="Elgee, Jeffrey (SPAC/PSPC)" userId="e10f0e9c-c03f-4fde-9113-11216b420c44" providerId="ADAL" clId="{0BEA5CCD-CDB7-477E-8756-157B9A0B9D9F}" dt="2024-07-30T13:30:27.376" v="1961"/>
          <ac:spMkLst>
            <pc:docMk/>
            <pc:sldMk cId="1684323998" sldId="386"/>
            <ac:spMk id="2" creationId="{530A314D-74C9-43F8-A8C5-E61B4C92159E}"/>
          </ac:spMkLst>
        </pc:spChg>
        <pc:spChg chg="mod">
          <ac:chgData name="Elgee, Jeffrey (SPAC/PSPC)" userId="e10f0e9c-c03f-4fde-9113-11216b420c44" providerId="ADAL" clId="{0BEA5CCD-CDB7-477E-8756-157B9A0B9D9F}" dt="2024-07-30T13:17:48.288" v="1847" actId="1037"/>
          <ac:spMkLst>
            <pc:docMk/>
            <pc:sldMk cId="1684323998" sldId="386"/>
            <ac:spMk id="9" creationId="{913C1812-715A-46AA-93A3-DFBB8BFBFB77}"/>
          </ac:spMkLst>
        </pc:spChg>
        <pc:spChg chg="mod">
          <ac:chgData name="Elgee, Jeffrey (SPAC/PSPC)" userId="e10f0e9c-c03f-4fde-9113-11216b420c44" providerId="ADAL" clId="{0BEA5CCD-CDB7-477E-8756-157B9A0B9D9F}" dt="2024-07-30T13:17:48.288" v="1847" actId="1037"/>
          <ac:spMkLst>
            <pc:docMk/>
            <pc:sldMk cId="1684323998" sldId="386"/>
            <ac:spMk id="13" creationId="{567B0D0C-3B07-4F68-8971-DF0F5502BC44}"/>
          </ac:spMkLst>
        </pc:spChg>
        <pc:spChg chg="mod">
          <ac:chgData name="Elgee, Jeffrey (SPAC/PSPC)" userId="e10f0e9c-c03f-4fde-9113-11216b420c44" providerId="ADAL" clId="{0BEA5CCD-CDB7-477E-8756-157B9A0B9D9F}" dt="2024-07-30T13:17:57.932" v="1862" actId="1037"/>
          <ac:spMkLst>
            <pc:docMk/>
            <pc:sldMk cId="1684323998" sldId="386"/>
            <ac:spMk id="17" creationId="{53E7AE0D-9FBF-45ED-BBC3-61684C08E034}"/>
          </ac:spMkLst>
        </pc:spChg>
        <pc:spChg chg="mod">
          <ac:chgData name="Elgee, Jeffrey (SPAC/PSPC)" userId="e10f0e9c-c03f-4fde-9113-11216b420c44" providerId="ADAL" clId="{0BEA5CCD-CDB7-477E-8756-157B9A0B9D9F}" dt="2024-07-29T19:28:09.954" v="1331" actId="1038"/>
          <ac:spMkLst>
            <pc:docMk/>
            <pc:sldMk cId="1684323998" sldId="386"/>
            <ac:spMk id="20" creationId="{9031742B-BEBA-4AE8-A8AF-F56808DB1541}"/>
          </ac:spMkLst>
        </pc:spChg>
        <pc:spChg chg="mod">
          <ac:chgData name="Elgee, Jeffrey (SPAC/PSPC)" userId="e10f0e9c-c03f-4fde-9113-11216b420c44" providerId="ADAL" clId="{0BEA5CCD-CDB7-477E-8756-157B9A0B9D9F}" dt="2024-07-29T19:28:16.216" v="1382" actId="1037"/>
          <ac:spMkLst>
            <pc:docMk/>
            <pc:sldMk cId="1684323998" sldId="386"/>
            <ac:spMk id="21" creationId="{AEA1D146-B1D0-4DA9-9ACE-52128B2D796E}"/>
          </ac:spMkLst>
        </pc:spChg>
        <pc:spChg chg="mod">
          <ac:chgData name="Elgee, Jeffrey (SPAC/PSPC)" userId="e10f0e9c-c03f-4fde-9113-11216b420c44" providerId="ADAL" clId="{0BEA5CCD-CDB7-477E-8756-157B9A0B9D9F}" dt="2024-07-30T13:36:26.301" v="1965" actId="1076"/>
          <ac:spMkLst>
            <pc:docMk/>
            <pc:sldMk cId="1684323998" sldId="386"/>
            <ac:spMk id="22" creationId="{985303B0-4D73-477A-A149-15587C809E1B}"/>
          </ac:spMkLst>
        </pc:spChg>
        <pc:spChg chg="mod">
          <ac:chgData name="Elgee, Jeffrey (SPAC/PSPC)" userId="e10f0e9c-c03f-4fde-9113-11216b420c44" providerId="ADAL" clId="{0BEA5CCD-CDB7-477E-8756-157B9A0B9D9F}" dt="2024-07-29T17:21:43.915" v="589" actId="20577"/>
          <ac:spMkLst>
            <pc:docMk/>
            <pc:sldMk cId="1684323998" sldId="386"/>
            <ac:spMk id="24" creationId="{D7ABFA5A-2948-41EC-AF91-AB2ACFB1383E}"/>
          </ac:spMkLst>
        </pc:spChg>
        <pc:spChg chg="del">
          <ac:chgData name="Elgee, Jeffrey (SPAC/PSPC)" userId="e10f0e9c-c03f-4fde-9113-11216b420c44" providerId="ADAL" clId="{0BEA5CCD-CDB7-477E-8756-157B9A0B9D9F}" dt="2024-07-29T17:21:58.497" v="591" actId="478"/>
          <ac:spMkLst>
            <pc:docMk/>
            <pc:sldMk cId="1684323998" sldId="386"/>
            <ac:spMk id="28" creationId="{F3177F66-B4E9-47D8-BB8A-F6AE4A801C95}"/>
          </ac:spMkLst>
        </pc:spChg>
        <pc:spChg chg="del">
          <ac:chgData name="Elgee, Jeffrey (SPAC/PSPC)" userId="e10f0e9c-c03f-4fde-9113-11216b420c44" providerId="ADAL" clId="{0BEA5CCD-CDB7-477E-8756-157B9A0B9D9F}" dt="2024-07-29T17:21:56.551" v="590" actId="478"/>
          <ac:spMkLst>
            <pc:docMk/>
            <pc:sldMk cId="1684323998" sldId="386"/>
            <ac:spMk id="29" creationId="{D851AA64-F7DF-4636-9B10-F0C3D4B663AD}"/>
          </ac:spMkLst>
        </pc:spChg>
        <pc:spChg chg="del">
          <ac:chgData name="Elgee, Jeffrey (SPAC/PSPC)" userId="e10f0e9c-c03f-4fde-9113-11216b420c44" providerId="ADAL" clId="{0BEA5CCD-CDB7-477E-8756-157B9A0B9D9F}" dt="2024-07-29T17:22:02.386" v="592" actId="478"/>
          <ac:spMkLst>
            <pc:docMk/>
            <pc:sldMk cId="1684323998" sldId="386"/>
            <ac:spMk id="30" creationId="{4E56B51C-CFBB-4ED8-9F7B-B876946ED814}"/>
          </ac:spMkLst>
        </pc:spChg>
        <pc:grpChg chg="del">
          <ac:chgData name="Elgee, Jeffrey (SPAC/PSPC)" userId="e10f0e9c-c03f-4fde-9113-11216b420c44" providerId="ADAL" clId="{0BEA5CCD-CDB7-477E-8756-157B9A0B9D9F}" dt="2024-07-29T17:21:58.497" v="591" actId="478"/>
          <ac:grpSpMkLst>
            <pc:docMk/>
            <pc:sldMk cId="1684323998" sldId="386"/>
            <ac:grpSpMk id="27" creationId="{1B898CCD-99DE-4741-8268-46CC39423F9A}"/>
          </ac:grpSpMkLst>
        </pc:grpChg>
        <pc:grpChg chg="mod">
          <ac:chgData name="Elgee, Jeffrey (SPAC/PSPC)" userId="e10f0e9c-c03f-4fde-9113-11216b420c44" providerId="ADAL" clId="{0BEA5CCD-CDB7-477E-8756-157B9A0B9D9F}" dt="2024-07-30T13:36:11.020" v="1963" actId="1076"/>
          <ac:grpSpMkLst>
            <pc:docMk/>
            <pc:sldMk cId="1684323998" sldId="386"/>
            <ac:grpSpMk id="41" creationId="{0771C080-8346-4646-AF35-12941E0F9E4B}"/>
          </ac:grpSpMkLst>
        </pc:grpChg>
        <pc:picChg chg="mod">
          <ac:chgData name="Elgee, Jeffrey (SPAC/PSPC)" userId="e10f0e9c-c03f-4fde-9113-11216b420c44" providerId="ADAL" clId="{0BEA5CCD-CDB7-477E-8756-157B9A0B9D9F}" dt="2024-07-30T13:17:48.288" v="1847" actId="1037"/>
          <ac:picMkLst>
            <pc:docMk/>
            <pc:sldMk cId="1684323998" sldId="386"/>
            <ac:picMk id="33" creationId="{CA77D4E7-3FEA-4437-A84B-9ADC66A7392A}"/>
          </ac:picMkLst>
        </pc:picChg>
        <pc:picChg chg="mod">
          <ac:chgData name="Elgee, Jeffrey (SPAC/PSPC)" userId="e10f0e9c-c03f-4fde-9113-11216b420c44" providerId="ADAL" clId="{0BEA5CCD-CDB7-477E-8756-157B9A0B9D9F}" dt="2024-07-29T19:28:29.198" v="1450" actId="1037"/>
          <ac:picMkLst>
            <pc:docMk/>
            <pc:sldMk cId="1684323998" sldId="386"/>
            <ac:picMk id="35" creationId="{2BD0C0AB-C94D-4E89-909C-80B0B454BF9A}"/>
          </ac:picMkLst>
        </pc:picChg>
      </pc:sldChg>
      <pc:sldChg chg="del">
        <pc:chgData name="Elgee, Jeffrey (SPAC/PSPC)" userId="e10f0e9c-c03f-4fde-9113-11216b420c44" providerId="ADAL" clId="{0BEA5CCD-CDB7-477E-8756-157B9A0B9D9F}" dt="2024-07-29T15:54:57.337" v="0" actId="47"/>
        <pc:sldMkLst>
          <pc:docMk/>
          <pc:sldMk cId="2077896438" sldId="387"/>
        </pc:sldMkLst>
      </pc:sldChg>
      <pc:sldChg chg="del">
        <pc:chgData name="Elgee, Jeffrey (SPAC/PSPC)" userId="e10f0e9c-c03f-4fde-9113-11216b420c44" providerId="ADAL" clId="{0BEA5CCD-CDB7-477E-8756-157B9A0B9D9F}" dt="2024-07-29T18:51:37.549" v="594" actId="47"/>
        <pc:sldMkLst>
          <pc:docMk/>
          <pc:sldMk cId="1267248219" sldId="389"/>
        </pc:sldMkLst>
      </pc:sldChg>
      <pc:sldChg chg="addSp modSp add del mod ord modShow">
        <pc:chgData name="Elgee, Jeffrey (SPAC/PSPC)" userId="e10f0e9c-c03f-4fde-9113-11216b420c44" providerId="ADAL" clId="{0BEA5CCD-CDB7-477E-8756-157B9A0B9D9F}" dt="2024-08-15T14:13:08.363" v="5032" actId="47"/>
        <pc:sldMkLst>
          <pc:docMk/>
          <pc:sldMk cId="2349315685" sldId="390"/>
        </pc:sldMkLst>
        <pc:spChg chg="mod">
          <ac:chgData name="Elgee, Jeffrey (SPAC/PSPC)" userId="e10f0e9c-c03f-4fde-9113-11216b420c44" providerId="ADAL" clId="{0BEA5CCD-CDB7-477E-8756-157B9A0B9D9F}" dt="2024-07-30T13:30:27.376" v="1961"/>
          <ac:spMkLst>
            <pc:docMk/>
            <pc:sldMk cId="2349315685" sldId="390"/>
            <ac:spMk id="2" creationId="{0CA309F0-47F5-4925-B6FC-5879D9DAFE9A}"/>
          </ac:spMkLst>
        </pc:spChg>
        <pc:spChg chg="add mod">
          <ac:chgData name="Elgee, Jeffrey (SPAC/PSPC)" userId="e10f0e9c-c03f-4fde-9113-11216b420c44" providerId="ADAL" clId="{0BEA5CCD-CDB7-477E-8756-157B9A0B9D9F}" dt="2024-07-30T15:28:58.621" v="2859" actId="1076"/>
          <ac:spMkLst>
            <pc:docMk/>
            <pc:sldMk cId="2349315685" sldId="390"/>
            <ac:spMk id="3" creationId="{EFCEA3AD-652A-2E3C-82E8-E470B40EC39D}"/>
          </ac:spMkLst>
        </pc:spChg>
        <pc:picChg chg="add mod">
          <ac:chgData name="Elgee, Jeffrey (SPAC/PSPC)" userId="e10f0e9c-c03f-4fde-9113-11216b420c44" providerId="ADAL" clId="{0BEA5CCD-CDB7-477E-8756-157B9A0B9D9F}" dt="2024-07-30T15:28:58.621" v="2859" actId="1076"/>
          <ac:picMkLst>
            <pc:docMk/>
            <pc:sldMk cId="2349315685" sldId="390"/>
            <ac:picMk id="4" creationId="{44548675-DD25-8C92-DBAD-9246436965D8}"/>
          </ac:picMkLst>
        </pc:picChg>
      </pc:sldChg>
      <pc:sldChg chg="modSp del">
        <pc:chgData name="Elgee, Jeffrey (SPAC/PSPC)" userId="e10f0e9c-c03f-4fde-9113-11216b420c44" providerId="ADAL" clId="{0BEA5CCD-CDB7-477E-8756-157B9A0B9D9F}" dt="2024-07-30T13:56:14.602" v="2062" actId="47"/>
        <pc:sldMkLst>
          <pc:docMk/>
          <pc:sldMk cId="624957764" sldId="391"/>
        </pc:sldMkLst>
        <pc:spChg chg="mod">
          <ac:chgData name="Elgee, Jeffrey (SPAC/PSPC)" userId="e10f0e9c-c03f-4fde-9113-11216b420c44" providerId="ADAL" clId="{0BEA5CCD-CDB7-477E-8756-157B9A0B9D9F}" dt="2024-07-30T13:30:27.376" v="1961"/>
          <ac:spMkLst>
            <pc:docMk/>
            <pc:sldMk cId="624957764" sldId="391"/>
            <ac:spMk id="2" creationId="{0CA309F0-47F5-4925-B6FC-5879D9DAFE9A}"/>
          </ac:spMkLst>
        </pc:spChg>
      </pc:sldChg>
      <pc:sldChg chg="addSp modSp del mod modShow">
        <pc:chgData name="Elgee, Jeffrey (SPAC/PSPC)" userId="e10f0e9c-c03f-4fde-9113-11216b420c44" providerId="ADAL" clId="{0BEA5CCD-CDB7-477E-8756-157B9A0B9D9F}" dt="2024-07-31T17:50:54.392" v="4660" actId="47"/>
        <pc:sldMkLst>
          <pc:docMk/>
          <pc:sldMk cId="170717709" sldId="392"/>
        </pc:sldMkLst>
        <pc:spChg chg="mod">
          <ac:chgData name="Elgee, Jeffrey (SPAC/PSPC)" userId="e10f0e9c-c03f-4fde-9113-11216b420c44" providerId="ADAL" clId="{0BEA5CCD-CDB7-477E-8756-157B9A0B9D9F}" dt="2024-07-30T13:30:27.376" v="1961"/>
          <ac:spMkLst>
            <pc:docMk/>
            <pc:sldMk cId="170717709" sldId="392"/>
            <ac:spMk id="2" creationId="{D3A263AE-E6EA-4109-9421-FEA20DDC8F2B}"/>
          </ac:spMkLst>
        </pc:spChg>
        <pc:spChg chg="add mod">
          <ac:chgData name="Elgee, Jeffrey (SPAC/PSPC)" userId="e10f0e9c-c03f-4fde-9113-11216b420c44" providerId="ADAL" clId="{0BEA5CCD-CDB7-477E-8756-157B9A0B9D9F}" dt="2024-07-30T13:39:30.543" v="1987"/>
          <ac:spMkLst>
            <pc:docMk/>
            <pc:sldMk cId="170717709" sldId="392"/>
            <ac:spMk id="3" creationId="{96969885-5FF0-4B8A-142F-CA23AB95C285}"/>
          </ac:spMkLst>
        </pc:spChg>
        <pc:spChg chg="mod">
          <ac:chgData name="Elgee, Jeffrey (SPAC/PSPC)" userId="e10f0e9c-c03f-4fde-9113-11216b420c44" providerId="ADAL" clId="{0BEA5CCD-CDB7-477E-8756-157B9A0B9D9F}" dt="2024-07-30T13:44:38.866" v="2035" actId="255"/>
          <ac:spMkLst>
            <pc:docMk/>
            <pc:sldMk cId="170717709" sldId="392"/>
            <ac:spMk id="8" creationId="{A029BCDA-F483-4424-B067-C749AC7E2D51}"/>
          </ac:spMkLst>
        </pc:spChg>
        <pc:spChg chg="mod">
          <ac:chgData name="Elgee, Jeffrey (SPAC/PSPC)" userId="e10f0e9c-c03f-4fde-9113-11216b420c44" providerId="ADAL" clId="{0BEA5CCD-CDB7-477E-8756-157B9A0B9D9F}" dt="2024-07-30T13:44:49.557" v="2061" actId="1035"/>
          <ac:spMkLst>
            <pc:docMk/>
            <pc:sldMk cId="170717709" sldId="392"/>
            <ac:spMk id="9" creationId="{28F99DF7-835D-4673-B748-CF5A7DC68457}"/>
          </ac:spMkLst>
        </pc:spChg>
        <pc:spChg chg="mod">
          <ac:chgData name="Elgee, Jeffrey (SPAC/PSPC)" userId="e10f0e9c-c03f-4fde-9113-11216b420c44" providerId="ADAL" clId="{0BEA5CCD-CDB7-477E-8756-157B9A0B9D9F}" dt="2024-07-30T13:44:49.557" v="2061" actId="1035"/>
          <ac:spMkLst>
            <pc:docMk/>
            <pc:sldMk cId="170717709" sldId="392"/>
            <ac:spMk id="10" creationId="{07FC31D2-801A-49F5-9401-84E5F79C47BE}"/>
          </ac:spMkLst>
        </pc:spChg>
        <pc:spChg chg="mod">
          <ac:chgData name="Elgee, Jeffrey (SPAC/PSPC)" userId="e10f0e9c-c03f-4fde-9113-11216b420c44" providerId="ADAL" clId="{0BEA5CCD-CDB7-477E-8756-157B9A0B9D9F}" dt="2024-07-30T13:44:49.557" v="2061" actId="1035"/>
          <ac:spMkLst>
            <pc:docMk/>
            <pc:sldMk cId="170717709" sldId="392"/>
            <ac:spMk id="11" creationId="{5F36255B-0B0F-4718-884A-37815B058BB1}"/>
          </ac:spMkLst>
        </pc:spChg>
        <pc:spChg chg="mod">
          <ac:chgData name="Elgee, Jeffrey (SPAC/PSPC)" userId="e10f0e9c-c03f-4fde-9113-11216b420c44" providerId="ADAL" clId="{0BEA5CCD-CDB7-477E-8756-157B9A0B9D9F}" dt="2024-07-30T13:44:49.557" v="2061" actId="1035"/>
          <ac:spMkLst>
            <pc:docMk/>
            <pc:sldMk cId="170717709" sldId="392"/>
            <ac:spMk id="12" creationId="{36AADF42-D6C7-44D7-96A9-D874862F6B57}"/>
          </ac:spMkLst>
        </pc:spChg>
        <pc:spChg chg="mod">
          <ac:chgData name="Elgee, Jeffrey (SPAC/PSPC)" userId="e10f0e9c-c03f-4fde-9113-11216b420c44" providerId="ADAL" clId="{0BEA5CCD-CDB7-477E-8756-157B9A0B9D9F}" dt="2024-07-30T13:44:49.557" v="2061" actId="1035"/>
          <ac:spMkLst>
            <pc:docMk/>
            <pc:sldMk cId="170717709" sldId="392"/>
            <ac:spMk id="13" creationId="{B456FA8F-EA34-4812-B5F8-FC4F12F4AAC1}"/>
          </ac:spMkLst>
        </pc:spChg>
        <pc:spChg chg="mod">
          <ac:chgData name="Elgee, Jeffrey (SPAC/PSPC)" userId="e10f0e9c-c03f-4fde-9113-11216b420c44" providerId="ADAL" clId="{0BEA5CCD-CDB7-477E-8756-157B9A0B9D9F}" dt="2024-07-30T13:44:49.557" v="2061" actId="1035"/>
          <ac:spMkLst>
            <pc:docMk/>
            <pc:sldMk cId="170717709" sldId="392"/>
            <ac:spMk id="14" creationId="{F7F1E87D-31A2-49AF-8E2B-9FDEFCD9C261}"/>
          </ac:spMkLst>
        </pc:spChg>
        <pc:spChg chg="mod">
          <ac:chgData name="Elgee, Jeffrey (SPAC/PSPC)" userId="e10f0e9c-c03f-4fde-9113-11216b420c44" providerId="ADAL" clId="{0BEA5CCD-CDB7-477E-8756-157B9A0B9D9F}" dt="2024-07-30T13:44:49.557" v="2061" actId="1035"/>
          <ac:spMkLst>
            <pc:docMk/>
            <pc:sldMk cId="170717709" sldId="392"/>
            <ac:spMk id="15" creationId="{AE25B030-740F-4A0C-8352-EB17DCCAE28A}"/>
          </ac:spMkLst>
        </pc:spChg>
        <pc:spChg chg="mod">
          <ac:chgData name="Elgee, Jeffrey (SPAC/PSPC)" userId="e10f0e9c-c03f-4fde-9113-11216b420c44" providerId="ADAL" clId="{0BEA5CCD-CDB7-477E-8756-157B9A0B9D9F}" dt="2024-07-30T13:44:49.557" v="2061" actId="1035"/>
          <ac:spMkLst>
            <pc:docMk/>
            <pc:sldMk cId="170717709" sldId="392"/>
            <ac:spMk id="16" creationId="{6E268FE2-408D-4D74-9643-3004BDDC2A36}"/>
          </ac:spMkLst>
        </pc:spChg>
        <pc:spChg chg="mod">
          <ac:chgData name="Elgee, Jeffrey (SPAC/PSPC)" userId="e10f0e9c-c03f-4fde-9113-11216b420c44" providerId="ADAL" clId="{0BEA5CCD-CDB7-477E-8756-157B9A0B9D9F}" dt="2024-07-30T13:44:49.557" v="2061" actId="1035"/>
          <ac:spMkLst>
            <pc:docMk/>
            <pc:sldMk cId="170717709" sldId="392"/>
            <ac:spMk id="17" creationId="{BD8FD75B-32C7-4C68-9C0F-F90DBCC7D84C}"/>
          </ac:spMkLst>
        </pc:spChg>
        <pc:spChg chg="mod">
          <ac:chgData name="Elgee, Jeffrey (SPAC/PSPC)" userId="e10f0e9c-c03f-4fde-9113-11216b420c44" providerId="ADAL" clId="{0BEA5CCD-CDB7-477E-8756-157B9A0B9D9F}" dt="2024-07-30T13:44:49.557" v="2061" actId="1035"/>
          <ac:spMkLst>
            <pc:docMk/>
            <pc:sldMk cId="170717709" sldId="392"/>
            <ac:spMk id="18" creationId="{3EBF9B25-9E49-4624-8C82-B3025D1DAE0B}"/>
          </ac:spMkLst>
        </pc:spChg>
        <pc:spChg chg="mod">
          <ac:chgData name="Elgee, Jeffrey (SPAC/PSPC)" userId="e10f0e9c-c03f-4fde-9113-11216b420c44" providerId="ADAL" clId="{0BEA5CCD-CDB7-477E-8756-157B9A0B9D9F}" dt="2024-07-30T13:44:49.557" v="2061" actId="1035"/>
          <ac:spMkLst>
            <pc:docMk/>
            <pc:sldMk cId="170717709" sldId="392"/>
            <ac:spMk id="19" creationId="{EF8F501D-2ACA-4E02-BB73-676313AF0E75}"/>
          </ac:spMkLst>
        </pc:spChg>
        <pc:picChg chg="add mod">
          <ac:chgData name="Elgee, Jeffrey (SPAC/PSPC)" userId="e10f0e9c-c03f-4fde-9113-11216b420c44" providerId="ADAL" clId="{0BEA5CCD-CDB7-477E-8756-157B9A0B9D9F}" dt="2024-07-30T13:39:30.543" v="1987"/>
          <ac:picMkLst>
            <pc:docMk/>
            <pc:sldMk cId="170717709" sldId="392"/>
            <ac:picMk id="4" creationId="{08A6E40A-4A9A-3C14-135D-2203CC20FBF7}"/>
          </ac:picMkLst>
        </pc:picChg>
        <pc:picChg chg="mod">
          <ac:chgData name="Elgee, Jeffrey (SPAC/PSPC)" userId="e10f0e9c-c03f-4fde-9113-11216b420c44" providerId="ADAL" clId="{0BEA5CCD-CDB7-477E-8756-157B9A0B9D9F}" dt="2024-07-30T13:44:49.557" v="2061" actId="1035"/>
          <ac:picMkLst>
            <pc:docMk/>
            <pc:sldMk cId="170717709" sldId="392"/>
            <ac:picMk id="20" creationId="{7FCC107B-1B11-4B36-A22B-1597621685E9}"/>
          </ac:picMkLst>
        </pc:picChg>
      </pc:sldChg>
      <pc:sldChg chg="addSp delSp modSp del mod modShow">
        <pc:chgData name="Elgee, Jeffrey (SPAC/PSPC)" userId="e10f0e9c-c03f-4fde-9113-11216b420c44" providerId="ADAL" clId="{0BEA5CCD-CDB7-477E-8756-157B9A0B9D9F}" dt="2024-08-15T14:10:22.307" v="5027" actId="47"/>
        <pc:sldMkLst>
          <pc:docMk/>
          <pc:sldMk cId="986189170" sldId="393"/>
        </pc:sldMkLst>
        <pc:spChg chg="mod">
          <ac:chgData name="Elgee, Jeffrey (SPAC/PSPC)" userId="e10f0e9c-c03f-4fde-9113-11216b420c44" providerId="ADAL" clId="{0BEA5CCD-CDB7-477E-8756-157B9A0B9D9F}" dt="2024-07-30T13:30:27.376" v="1961"/>
          <ac:spMkLst>
            <pc:docMk/>
            <pc:sldMk cId="986189170" sldId="393"/>
            <ac:spMk id="2" creationId="{81BABC30-17CF-4A05-BBF2-C491854EEE86}"/>
          </ac:spMkLst>
        </pc:spChg>
        <pc:spChg chg="add mod ord">
          <ac:chgData name="Elgee, Jeffrey (SPAC/PSPC)" userId="e10f0e9c-c03f-4fde-9113-11216b420c44" providerId="ADAL" clId="{0BEA5CCD-CDB7-477E-8756-157B9A0B9D9F}" dt="2024-07-30T14:55:58.193" v="2581" actId="170"/>
          <ac:spMkLst>
            <pc:docMk/>
            <pc:sldMk cId="986189170" sldId="393"/>
            <ac:spMk id="3" creationId="{95A31F6C-BC75-4062-B21A-68B6ADEC68AE}"/>
          </ac:spMkLst>
        </pc:spChg>
        <pc:spChg chg="mod ord">
          <ac:chgData name="Elgee, Jeffrey (SPAC/PSPC)" userId="e10f0e9c-c03f-4fde-9113-11216b420c44" providerId="ADAL" clId="{0BEA5CCD-CDB7-477E-8756-157B9A0B9D9F}" dt="2024-07-30T14:55:51.348" v="2580" actId="171"/>
          <ac:spMkLst>
            <pc:docMk/>
            <pc:sldMk cId="986189170" sldId="393"/>
            <ac:spMk id="14" creationId="{0CACA278-8846-461F-8C90-36C80E352F7E}"/>
          </ac:spMkLst>
        </pc:spChg>
        <pc:spChg chg="del">
          <ac:chgData name="Elgee, Jeffrey (SPAC/PSPC)" userId="e10f0e9c-c03f-4fde-9113-11216b420c44" providerId="ADAL" clId="{0BEA5CCD-CDB7-477E-8756-157B9A0B9D9F}" dt="2024-07-30T14:32:44.685" v="2513" actId="478"/>
          <ac:spMkLst>
            <pc:docMk/>
            <pc:sldMk cId="986189170" sldId="393"/>
            <ac:spMk id="15" creationId="{95A31F6C-BC75-4062-B21A-68B6ADEC68AE}"/>
          </ac:spMkLst>
        </pc:spChg>
        <pc:spChg chg="mod">
          <ac:chgData name="Elgee, Jeffrey (SPAC/PSPC)" userId="e10f0e9c-c03f-4fde-9113-11216b420c44" providerId="ADAL" clId="{0BEA5CCD-CDB7-477E-8756-157B9A0B9D9F}" dt="2024-07-30T14:32:28.882" v="2512" actId="20577"/>
          <ac:spMkLst>
            <pc:docMk/>
            <pc:sldMk cId="986189170" sldId="393"/>
            <ac:spMk id="30" creationId="{1C711295-EFBB-4370-8A65-49D40DBA87E6}"/>
          </ac:spMkLst>
        </pc:spChg>
        <pc:spChg chg="mod">
          <ac:chgData name="Elgee, Jeffrey (SPAC/PSPC)" userId="e10f0e9c-c03f-4fde-9113-11216b420c44" providerId="ADAL" clId="{0BEA5CCD-CDB7-477E-8756-157B9A0B9D9F}" dt="2024-07-30T14:37:39.368" v="2522" actId="20577"/>
          <ac:spMkLst>
            <pc:docMk/>
            <pc:sldMk cId="986189170" sldId="393"/>
            <ac:spMk id="49" creationId="{78CC5D01-D6DD-4F92-AA98-55AB1B20A00F}"/>
          </ac:spMkLst>
        </pc:spChg>
        <pc:grpChg chg="mod">
          <ac:chgData name="Elgee, Jeffrey (SPAC/PSPC)" userId="e10f0e9c-c03f-4fde-9113-11216b420c44" providerId="ADAL" clId="{0BEA5CCD-CDB7-477E-8756-157B9A0B9D9F}" dt="2024-07-30T14:48:27.645" v="2541" actId="1076"/>
          <ac:grpSpMkLst>
            <pc:docMk/>
            <pc:sldMk cId="986189170" sldId="393"/>
            <ac:grpSpMk id="39" creationId="{C2191868-CCF5-4452-B018-92CA700DC7A2}"/>
          </ac:grpSpMkLst>
        </pc:grpChg>
        <pc:picChg chg="mod ord">
          <ac:chgData name="Elgee, Jeffrey (SPAC/PSPC)" userId="e10f0e9c-c03f-4fde-9113-11216b420c44" providerId="ADAL" clId="{0BEA5CCD-CDB7-477E-8756-157B9A0B9D9F}" dt="2024-07-30T14:48:16.127" v="2539" actId="1076"/>
          <ac:picMkLst>
            <pc:docMk/>
            <pc:sldMk cId="986189170" sldId="393"/>
            <ac:picMk id="32" creationId="{B3635091-EA6C-45BF-9324-CF1EBEF4F479}"/>
          </ac:picMkLst>
        </pc:picChg>
        <pc:cxnChg chg="ord">
          <ac:chgData name="Elgee, Jeffrey (SPAC/PSPC)" userId="e10f0e9c-c03f-4fde-9113-11216b420c44" providerId="ADAL" clId="{0BEA5CCD-CDB7-477E-8756-157B9A0B9D9F}" dt="2024-07-30T14:49:18.339" v="2553" actId="167"/>
          <ac:cxnSpMkLst>
            <pc:docMk/>
            <pc:sldMk cId="986189170" sldId="393"/>
            <ac:cxnSpMk id="10" creationId="{1B231655-D18E-4271-BA78-D0E1F28479E0}"/>
          </ac:cxnSpMkLst>
        </pc:cxnChg>
      </pc:sldChg>
      <pc:sldChg chg="addSp modSp del mod">
        <pc:chgData name="Elgee, Jeffrey (SPAC/PSPC)" userId="e10f0e9c-c03f-4fde-9113-11216b420c44" providerId="ADAL" clId="{0BEA5CCD-CDB7-477E-8756-157B9A0B9D9F}" dt="2024-07-30T15:37:09.590" v="2874" actId="47"/>
        <pc:sldMkLst>
          <pc:docMk/>
          <pc:sldMk cId="3604184265" sldId="394"/>
        </pc:sldMkLst>
        <pc:spChg chg="mod">
          <ac:chgData name="Elgee, Jeffrey (SPAC/PSPC)" userId="e10f0e9c-c03f-4fde-9113-11216b420c44" providerId="ADAL" clId="{0BEA5CCD-CDB7-477E-8756-157B9A0B9D9F}" dt="2024-07-30T13:30:27.376" v="1961"/>
          <ac:spMkLst>
            <pc:docMk/>
            <pc:sldMk cId="3604184265" sldId="394"/>
            <ac:spMk id="2" creationId="{2916B83A-8825-46D6-AAD4-A3DE1C50FC00}"/>
          </ac:spMkLst>
        </pc:spChg>
        <pc:spChg chg="add mod">
          <ac:chgData name="Elgee, Jeffrey (SPAC/PSPC)" userId="e10f0e9c-c03f-4fde-9113-11216b420c44" providerId="ADAL" clId="{0BEA5CCD-CDB7-477E-8756-157B9A0B9D9F}" dt="2024-07-30T15:30:01.737" v="2863" actId="1076"/>
          <ac:spMkLst>
            <pc:docMk/>
            <pc:sldMk cId="3604184265" sldId="394"/>
            <ac:spMk id="3" creationId="{842F57CC-E922-BF7E-2332-60537F1F313C}"/>
          </ac:spMkLst>
        </pc:spChg>
        <pc:picChg chg="add mod">
          <ac:chgData name="Elgee, Jeffrey (SPAC/PSPC)" userId="e10f0e9c-c03f-4fde-9113-11216b420c44" providerId="ADAL" clId="{0BEA5CCD-CDB7-477E-8756-157B9A0B9D9F}" dt="2024-07-30T15:29:50.979" v="2862" actId="1076"/>
          <ac:picMkLst>
            <pc:docMk/>
            <pc:sldMk cId="3604184265" sldId="394"/>
            <ac:picMk id="4" creationId="{22702DB3-A6B3-9DAD-25CF-93AF2503F2D4}"/>
          </ac:picMkLst>
        </pc:picChg>
      </pc:sldChg>
      <pc:sldChg chg="modSp del">
        <pc:chgData name="Elgee, Jeffrey (SPAC/PSPC)" userId="e10f0e9c-c03f-4fde-9113-11216b420c44" providerId="ADAL" clId="{0BEA5CCD-CDB7-477E-8756-157B9A0B9D9F}" dt="2024-07-30T14:28:07.122" v="2504" actId="47"/>
        <pc:sldMkLst>
          <pc:docMk/>
          <pc:sldMk cId="557100881" sldId="395"/>
        </pc:sldMkLst>
        <pc:spChg chg="mod">
          <ac:chgData name="Elgee, Jeffrey (SPAC/PSPC)" userId="e10f0e9c-c03f-4fde-9113-11216b420c44" providerId="ADAL" clId="{0BEA5CCD-CDB7-477E-8756-157B9A0B9D9F}" dt="2024-07-30T13:30:27.376" v="1961"/>
          <ac:spMkLst>
            <pc:docMk/>
            <pc:sldMk cId="557100881" sldId="395"/>
            <ac:spMk id="2" creationId="{278F3FA5-7923-4AC0-9E18-224E293A3524}"/>
          </ac:spMkLst>
        </pc:spChg>
      </pc:sldChg>
      <pc:sldChg chg="addSp modSp mod ord">
        <pc:chgData name="Elgee, Jeffrey (SPAC/PSPC)" userId="e10f0e9c-c03f-4fde-9113-11216b420c44" providerId="ADAL" clId="{0BEA5CCD-CDB7-477E-8756-157B9A0B9D9F}" dt="2024-08-14T17:23:29.137" v="5003"/>
        <pc:sldMkLst>
          <pc:docMk/>
          <pc:sldMk cId="2629830747" sldId="396"/>
        </pc:sldMkLst>
        <pc:spChg chg="mod">
          <ac:chgData name="Elgee, Jeffrey (SPAC/PSPC)" userId="e10f0e9c-c03f-4fde-9113-11216b420c44" providerId="ADAL" clId="{0BEA5CCD-CDB7-477E-8756-157B9A0B9D9F}" dt="2024-07-30T13:30:27.376" v="1961"/>
          <ac:spMkLst>
            <pc:docMk/>
            <pc:sldMk cId="2629830747" sldId="396"/>
            <ac:spMk id="2" creationId="{B258A90E-B601-4187-911F-105639F10A47}"/>
          </ac:spMkLst>
        </pc:spChg>
        <pc:spChg chg="add mod">
          <ac:chgData name="Elgee, Jeffrey (SPAC/PSPC)" userId="e10f0e9c-c03f-4fde-9113-11216b420c44" providerId="ADAL" clId="{0BEA5CCD-CDB7-477E-8756-157B9A0B9D9F}" dt="2024-07-30T15:29:28.091" v="2861" actId="1076"/>
          <ac:spMkLst>
            <pc:docMk/>
            <pc:sldMk cId="2629830747" sldId="396"/>
            <ac:spMk id="3" creationId="{70D16EB9-A5A9-9DDE-092E-70517F2D9712}"/>
          </ac:spMkLst>
        </pc:spChg>
        <pc:picChg chg="add mod">
          <ac:chgData name="Elgee, Jeffrey (SPAC/PSPC)" userId="e10f0e9c-c03f-4fde-9113-11216b420c44" providerId="ADAL" clId="{0BEA5CCD-CDB7-477E-8756-157B9A0B9D9F}" dt="2024-07-30T15:29:28.091" v="2861" actId="1076"/>
          <ac:picMkLst>
            <pc:docMk/>
            <pc:sldMk cId="2629830747" sldId="396"/>
            <ac:picMk id="4" creationId="{930F1124-43DC-4EEC-A32C-A73867D2FC36}"/>
          </ac:picMkLst>
        </pc:picChg>
      </pc:sldChg>
      <pc:sldChg chg="addSp modSp del mod">
        <pc:chgData name="Elgee, Jeffrey (SPAC/PSPC)" userId="e10f0e9c-c03f-4fde-9113-11216b420c44" providerId="ADAL" clId="{0BEA5CCD-CDB7-477E-8756-157B9A0B9D9F}" dt="2024-07-30T15:37:26.250" v="2875" actId="2696"/>
        <pc:sldMkLst>
          <pc:docMk/>
          <pc:sldMk cId="1562851343" sldId="397"/>
        </pc:sldMkLst>
        <pc:spChg chg="mod">
          <ac:chgData name="Elgee, Jeffrey (SPAC/PSPC)" userId="e10f0e9c-c03f-4fde-9113-11216b420c44" providerId="ADAL" clId="{0BEA5CCD-CDB7-477E-8756-157B9A0B9D9F}" dt="2024-07-30T13:30:27.376" v="1961"/>
          <ac:spMkLst>
            <pc:docMk/>
            <pc:sldMk cId="1562851343" sldId="397"/>
            <ac:spMk id="2" creationId="{9DC1350E-EEEF-47AA-83A4-E3D5D0694796}"/>
          </ac:spMkLst>
        </pc:spChg>
        <pc:spChg chg="add mod">
          <ac:chgData name="Elgee, Jeffrey (SPAC/PSPC)" userId="e10f0e9c-c03f-4fde-9113-11216b420c44" providerId="ADAL" clId="{0BEA5CCD-CDB7-477E-8756-157B9A0B9D9F}" dt="2024-07-30T15:30:13.627" v="2864" actId="1076"/>
          <ac:spMkLst>
            <pc:docMk/>
            <pc:sldMk cId="1562851343" sldId="397"/>
            <ac:spMk id="3" creationId="{914C6D2B-A37C-287A-83A2-D98E2BCC2C62}"/>
          </ac:spMkLst>
        </pc:spChg>
        <pc:picChg chg="add mod">
          <ac:chgData name="Elgee, Jeffrey (SPAC/PSPC)" userId="e10f0e9c-c03f-4fde-9113-11216b420c44" providerId="ADAL" clId="{0BEA5CCD-CDB7-477E-8756-157B9A0B9D9F}" dt="2024-07-30T15:30:13.627" v="2864" actId="1076"/>
          <ac:picMkLst>
            <pc:docMk/>
            <pc:sldMk cId="1562851343" sldId="397"/>
            <ac:picMk id="4" creationId="{BA1D12E5-1C73-B995-2FBE-ECB5A240739F}"/>
          </ac:picMkLst>
        </pc:picChg>
      </pc:sldChg>
      <pc:sldChg chg="addSp delSp modSp del mod">
        <pc:chgData name="Elgee, Jeffrey (SPAC/PSPC)" userId="e10f0e9c-c03f-4fde-9113-11216b420c44" providerId="ADAL" clId="{0BEA5CCD-CDB7-477E-8756-157B9A0B9D9F}" dt="2024-07-31T18:13:48.867" v="4711" actId="47"/>
        <pc:sldMkLst>
          <pc:docMk/>
          <pc:sldMk cId="425071425" sldId="398"/>
        </pc:sldMkLst>
        <pc:spChg chg="mod">
          <ac:chgData name="Elgee, Jeffrey (SPAC/PSPC)" userId="e10f0e9c-c03f-4fde-9113-11216b420c44" providerId="ADAL" clId="{0BEA5CCD-CDB7-477E-8756-157B9A0B9D9F}" dt="2024-07-30T13:30:27.376" v="1961"/>
          <ac:spMkLst>
            <pc:docMk/>
            <pc:sldMk cId="425071425" sldId="398"/>
            <ac:spMk id="2" creationId="{25ADEEDC-78CB-455A-88E5-C11ACC34C166}"/>
          </ac:spMkLst>
        </pc:spChg>
        <pc:spChg chg="add mod">
          <ac:chgData name="Elgee, Jeffrey (SPAC/PSPC)" userId="e10f0e9c-c03f-4fde-9113-11216b420c44" providerId="ADAL" clId="{0BEA5CCD-CDB7-477E-8756-157B9A0B9D9F}" dt="2024-07-30T15:28:43.708" v="2858" actId="1076"/>
          <ac:spMkLst>
            <pc:docMk/>
            <pc:sldMk cId="425071425" sldId="398"/>
            <ac:spMk id="4" creationId="{7C59498A-94CE-240C-5981-77D198AFCDBD}"/>
          </ac:spMkLst>
        </pc:spChg>
        <pc:spChg chg="del mod">
          <ac:chgData name="Elgee, Jeffrey (SPAC/PSPC)" userId="e10f0e9c-c03f-4fde-9113-11216b420c44" providerId="ADAL" clId="{0BEA5CCD-CDB7-477E-8756-157B9A0B9D9F}" dt="2024-07-30T16:08:21.785" v="2926" actId="478"/>
          <ac:spMkLst>
            <pc:docMk/>
            <pc:sldMk cId="425071425" sldId="398"/>
            <ac:spMk id="6" creationId="{A3D5E637-4E3C-416C-8880-10F329AC1531}"/>
          </ac:spMkLst>
        </pc:spChg>
        <pc:picChg chg="add mod">
          <ac:chgData name="Elgee, Jeffrey (SPAC/PSPC)" userId="e10f0e9c-c03f-4fde-9113-11216b420c44" providerId="ADAL" clId="{0BEA5CCD-CDB7-477E-8756-157B9A0B9D9F}" dt="2024-07-30T15:28:43.708" v="2858" actId="1076"/>
          <ac:picMkLst>
            <pc:docMk/>
            <pc:sldMk cId="425071425" sldId="398"/>
            <ac:picMk id="5" creationId="{1A437EEB-80E6-D13E-9907-D789486444E7}"/>
          </ac:picMkLst>
        </pc:picChg>
      </pc:sldChg>
      <pc:sldChg chg="modSp del">
        <pc:chgData name="Elgee, Jeffrey (SPAC/PSPC)" userId="e10f0e9c-c03f-4fde-9113-11216b420c44" providerId="ADAL" clId="{0BEA5CCD-CDB7-477E-8756-157B9A0B9D9F}" dt="2024-07-30T13:56:18.165" v="2063" actId="47"/>
        <pc:sldMkLst>
          <pc:docMk/>
          <pc:sldMk cId="3227355639" sldId="400"/>
        </pc:sldMkLst>
        <pc:spChg chg="mod">
          <ac:chgData name="Elgee, Jeffrey (SPAC/PSPC)" userId="e10f0e9c-c03f-4fde-9113-11216b420c44" providerId="ADAL" clId="{0BEA5CCD-CDB7-477E-8756-157B9A0B9D9F}" dt="2024-07-30T13:30:27.376" v="1961"/>
          <ac:spMkLst>
            <pc:docMk/>
            <pc:sldMk cId="3227355639" sldId="400"/>
            <ac:spMk id="2" creationId="{EDAC6BAA-31B6-4381-BAD9-5403CDE86C18}"/>
          </ac:spMkLst>
        </pc:spChg>
      </pc:sldChg>
      <pc:sldChg chg="addSp modSp add del mod ord modShow modNotesTx">
        <pc:chgData name="Elgee, Jeffrey (SPAC/PSPC)" userId="e10f0e9c-c03f-4fde-9113-11216b420c44" providerId="ADAL" clId="{0BEA5CCD-CDB7-477E-8756-157B9A0B9D9F}" dt="2024-08-15T14:24:11.904" v="5604" actId="20577"/>
        <pc:sldMkLst>
          <pc:docMk/>
          <pc:sldMk cId="3182586037" sldId="401"/>
        </pc:sldMkLst>
        <pc:spChg chg="mod">
          <ac:chgData name="Elgee, Jeffrey (SPAC/PSPC)" userId="e10f0e9c-c03f-4fde-9113-11216b420c44" providerId="ADAL" clId="{0BEA5CCD-CDB7-477E-8756-157B9A0B9D9F}" dt="2024-08-15T14:14:24.596" v="5152" actId="20577"/>
          <ac:spMkLst>
            <pc:docMk/>
            <pc:sldMk cId="3182586037" sldId="401"/>
            <ac:spMk id="2" creationId="{15A84292-B564-42A1-87E0-C35F7892D6D3}"/>
          </ac:spMkLst>
        </pc:spChg>
        <pc:spChg chg="add mod">
          <ac:chgData name="Elgee, Jeffrey (SPAC/PSPC)" userId="e10f0e9c-c03f-4fde-9113-11216b420c44" providerId="ADAL" clId="{0BEA5CCD-CDB7-477E-8756-157B9A0B9D9F}" dt="2024-07-30T15:29:13.212" v="2860" actId="1076"/>
          <ac:spMkLst>
            <pc:docMk/>
            <pc:sldMk cId="3182586037" sldId="401"/>
            <ac:spMk id="8" creationId="{C1447EFF-BD58-C00C-E106-22D7EC19A520}"/>
          </ac:spMkLst>
        </pc:spChg>
        <pc:picChg chg="add mod">
          <ac:chgData name="Elgee, Jeffrey (SPAC/PSPC)" userId="e10f0e9c-c03f-4fde-9113-11216b420c44" providerId="ADAL" clId="{0BEA5CCD-CDB7-477E-8756-157B9A0B9D9F}" dt="2024-07-30T15:29:13.212" v="2860" actId="1076"/>
          <ac:picMkLst>
            <pc:docMk/>
            <pc:sldMk cId="3182586037" sldId="401"/>
            <ac:picMk id="21" creationId="{61C07902-73C4-83BB-F2F8-6E7FD0B9C471}"/>
          </ac:picMkLst>
        </pc:picChg>
      </pc:sldChg>
      <pc:sldChg chg="addSp modSp del mod">
        <pc:chgData name="Elgee, Jeffrey (SPAC/PSPC)" userId="e10f0e9c-c03f-4fde-9113-11216b420c44" providerId="ADAL" clId="{0BEA5CCD-CDB7-477E-8756-157B9A0B9D9F}" dt="2024-07-31T18:11:25.674" v="4710" actId="47"/>
        <pc:sldMkLst>
          <pc:docMk/>
          <pc:sldMk cId="1860664748" sldId="402"/>
        </pc:sldMkLst>
        <pc:spChg chg="mod">
          <ac:chgData name="Elgee, Jeffrey (SPAC/PSPC)" userId="e10f0e9c-c03f-4fde-9113-11216b420c44" providerId="ADAL" clId="{0BEA5CCD-CDB7-477E-8756-157B9A0B9D9F}" dt="2024-07-30T13:30:27.376" v="1961"/>
          <ac:spMkLst>
            <pc:docMk/>
            <pc:sldMk cId="1860664748" sldId="402"/>
            <ac:spMk id="2" creationId="{9DC1350E-EEEF-47AA-83A4-E3D5D0694796}"/>
          </ac:spMkLst>
        </pc:spChg>
        <pc:spChg chg="add mod">
          <ac:chgData name="Elgee, Jeffrey (SPAC/PSPC)" userId="e10f0e9c-c03f-4fde-9113-11216b420c44" providerId="ADAL" clId="{0BEA5CCD-CDB7-477E-8756-157B9A0B9D9F}" dt="2024-07-30T15:30:40.138" v="2865" actId="1076"/>
          <ac:spMkLst>
            <pc:docMk/>
            <pc:sldMk cId="1860664748" sldId="402"/>
            <ac:spMk id="3" creationId="{45A50A5C-D99D-456E-31FF-6F25A0212420}"/>
          </ac:spMkLst>
        </pc:spChg>
        <pc:picChg chg="add mod">
          <ac:chgData name="Elgee, Jeffrey (SPAC/PSPC)" userId="e10f0e9c-c03f-4fde-9113-11216b420c44" providerId="ADAL" clId="{0BEA5CCD-CDB7-477E-8756-157B9A0B9D9F}" dt="2024-07-30T15:30:40.138" v="2865" actId="1076"/>
          <ac:picMkLst>
            <pc:docMk/>
            <pc:sldMk cId="1860664748" sldId="402"/>
            <ac:picMk id="4" creationId="{02985492-F2B9-8121-33DC-64694204E901}"/>
          </ac:picMkLst>
        </pc:picChg>
      </pc:sldChg>
      <pc:sldChg chg="del">
        <pc:chgData name="Elgee, Jeffrey (SPAC/PSPC)" userId="e10f0e9c-c03f-4fde-9113-11216b420c44" providerId="ADAL" clId="{0BEA5CCD-CDB7-477E-8756-157B9A0B9D9F}" dt="2024-07-29T16:37:43.491" v="422" actId="47"/>
        <pc:sldMkLst>
          <pc:docMk/>
          <pc:sldMk cId="3306026229" sldId="403"/>
        </pc:sldMkLst>
      </pc:sldChg>
      <pc:sldChg chg="del">
        <pc:chgData name="Elgee, Jeffrey (SPAC/PSPC)" userId="e10f0e9c-c03f-4fde-9113-11216b420c44" providerId="ADAL" clId="{0BEA5CCD-CDB7-477E-8756-157B9A0B9D9F}" dt="2024-07-29T16:37:43.491" v="422" actId="47"/>
        <pc:sldMkLst>
          <pc:docMk/>
          <pc:sldMk cId="462943816" sldId="406"/>
        </pc:sldMkLst>
      </pc:sldChg>
      <pc:sldChg chg="del">
        <pc:chgData name="Elgee, Jeffrey (SPAC/PSPC)" userId="e10f0e9c-c03f-4fde-9113-11216b420c44" providerId="ADAL" clId="{0BEA5CCD-CDB7-477E-8756-157B9A0B9D9F}" dt="2024-07-29T16:37:43.491" v="422" actId="47"/>
        <pc:sldMkLst>
          <pc:docMk/>
          <pc:sldMk cId="2466612922" sldId="407"/>
        </pc:sldMkLst>
      </pc:sldChg>
      <pc:sldChg chg="del">
        <pc:chgData name="Elgee, Jeffrey (SPAC/PSPC)" userId="e10f0e9c-c03f-4fde-9113-11216b420c44" providerId="ADAL" clId="{0BEA5CCD-CDB7-477E-8756-157B9A0B9D9F}" dt="2024-07-29T16:37:43.491" v="422" actId="47"/>
        <pc:sldMkLst>
          <pc:docMk/>
          <pc:sldMk cId="1506004974" sldId="408"/>
        </pc:sldMkLst>
      </pc:sldChg>
      <pc:sldChg chg="modSp del mod">
        <pc:chgData name="Elgee, Jeffrey (SPAC/PSPC)" userId="e10f0e9c-c03f-4fde-9113-11216b420c44" providerId="ADAL" clId="{0BEA5CCD-CDB7-477E-8756-157B9A0B9D9F}" dt="2024-07-30T16:04:38.912" v="2924" actId="47"/>
        <pc:sldMkLst>
          <pc:docMk/>
          <pc:sldMk cId="2997729576" sldId="409"/>
        </pc:sldMkLst>
        <pc:spChg chg="mod">
          <ac:chgData name="Elgee, Jeffrey (SPAC/PSPC)" userId="e10f0e9c-c03f-4fde-9113-11216b420c44" providerId="ADAL" clId="{0BEA5CCD-CDB7-477E-8756-157B9A0B9D9F}" dt="2024-07-30T13:30:27.376" v="1961"/>
          <ac:spMkLst>
            <pc:docMk/>
            <pc:sldMk cId="2997729576" sldId="409"/>
            <ac:spMk id="2" creationId="{2A8A85DB-82AC-4701-A4FC-0373FBDE8BEE}"/>
          </ac:spMkLst>
        </pc:spChg>
        <pc:spChg chg="mod">
          <ac:chgData name="Elgee, Jeffrey (SPAC/PSPC)" userId="e10f0e9c-c03f-4fde-9113-11216b420c44" providerId="ADAL" clId="{0BEA5CCD-CDB7-477E-8756-157B9A0B9D9F}" dt="2024-07-29T16:32:16.604" v="421" actId="5793"/>
          <ac:spMkLst>
            <pc:docMk/>
            <pc:sldMk cId="2997729576" sldId="409"/>
            <ac:spMk id="4" creationId="{746FAADD-EA1A-4200-8B8D-8A21154CF60A}"/>
          </ac:spMkLst>
        </pc:spChg>
      </pc:sldChg>
      <pc:sldChg chg="del">
        <pc:chgData name="Elgee, Jeffrey (SPAC/PSPC)" userId="e10f0e9c-c03f-4fde-9113-11216b420c44" providerId="ADAL" clId="{0BEA5CCD-CDB7-477E-8756-157B9A0B9D9F}" dt="2024-07-29T16:37:43.491" v="422" actId="47"/>
        <pc:sldMkLst>
          <pc:docMk/>
          <pc:sldMk cId="1492418147" sldId="411"/>
        </pc:sldMkLst>
      </pc:sldChg>
      <pc:sldChg chg="addSp delSp modSp add mod ord modNotesTx">
        <pc:chgData name="Elgee, Jeffrey (SPAC/PSPC)" userId="e10f0e9c-c03f-4fde-9113-11216b420c44" providerId="ADAL" clId="{0BEA5CCD-CDB7-477E-8756-157B9A0B9D9F}" dt="2024-08-14T16:04:57.067" v="4732" actId="20577"/>
        <pc:sldMkLst>
          <pc:docMk/>
          <pc:sldMk cId="3015862920" sldId="4985"/>
        </pc:sldMkLst>
        <pc:spChg chg="mod">
          <ac:chgData name="Elgee, Jeffrey (SPAC/PSPC)" userId="e10f0e9c-c03f-4fde-9113-11216b420c44" providerId="ADAL" clId="{0BEA5CCD-CDB7-477E-8756-157B9A0B9D9F}" dt="2024-07-30T13:37:23.092" v="1984" actId="20577"/>
          <ac:spMkLst>
            <pc:docMk/>
            <pc:sldMk cId="3015862920" sldId="4985"/>
            <ac:spMk id="2" creationId="{23CE6DA8-6FD6-77EF-D7A3-C3773CB1AD0F}"/>
          </ac:spMkLst>
        </pc:spChg>
        <pc:spChg chg="add mod">
          <ac:chgData name="Elgee, Jeffrey (SPAC/PSPC)" userId="e10f0e9c-c03f-4fde-9113-11216b420c44" providerId="ADAL" clId="{0BEA5CCD-CDB7-477E-8756-157B9A0B9D9F}" dt="2024-07-30T13:37:41.764" v="1986" actId="1076"/>
          <ac:spMkLst>
            <pc:docMk/>
            <pc:sldMk cId="3015862920" sldId="4985"/>
            <ac:spMk id="3" creationId="{1A065890-FE85-C817-884E-5CAA512A2ADA}"/>
          </ac:spMkLst>
        </pc:spChg>
        <pc:spChg chg="add del">
          <ac:chgData name="Elgee, Jeffrey (SPAC/PSPC)" userId="e10f0e9c-c03f-4fde-9113-11216b420c44" providerId="ADAL" clId="{0BEA5CCD-CDB7-477E-8756-157B9A0B9D9F}" dt="2024-07-30T15:44:33.586" v="2905" actId="22"/>
          <ac:spMkLst>
            <pc:docMk/>
            <pc:sldMk cId="3015862920" sldId="4985"/>
            <ac:spMk id="7" creationId="{F28ACA6D-A0C1-1466-2034-03974BE869D7}"/>
          </ac:spMkLst>
        </pc:spChg>
        <pc:picChg chg="add mod">
          <ac:chgData name="Elgee, Jeffrey (SPAC/PSPC)" userId="e10f0e9c-c03f-4fde-9113-11216b420c44" providerId="ADAL" clId="{0BEA5CCD-CDB7-477E-8756-157B9A0B9D9F}" dt="2024-07-30T13:37:41.764" v="1986" actId="1076"/>
          <ac:picMkLst>
            <pc:docMk/>
            <pc:sldMk cId="3015862920" sldId="4985"/>
            <ac:picMk id="5" creationId="{F5038601-879A-7B21-293B-1A88C55B1DC2}"/>
          </ac:picMkLst>
        </pc:picChg>
      </pc:sldChg>
      <pc:sldChg chg="modSp">
        <pc:chgData name="Elgee, Jeffrey (SPAC/PSPC)" userId="e10f0e9c-c03f-4fde-9113-11216b420c44" providerId="ADAL" clId="{0BEA5CCD-CDB7-477E-8756-157B9A0B9D9F}" dt="2024-07-30T13:30:27.376" v="1961"/>
        <pc:sldMkLst>
          <pc:docMk/>
          <pc:sldMk cId="625183133" sldId="4986"/>
        </pc:sldMkLst>
        <pc:spChg chg="mod">
          <ac:chgData name="Elgee, Jeffrey (SPAC/PSPC)" userId="e10f0e9c-c03f-4fde-9113-11216b420c44" providerId="ADAL" clId="{0BEA5CCD-CDB7-477E-8756-157B9A0B9D9F}" dt="2024-07-30T13:30:27.376" v="1961"/>
          <ac:spMkLst>
            <pc:docMk/>
            <pc:sldMk cId="625183133" sldId="4986"/>
            <ac:spMk id="2" creationId="{459AFBF6-A3FE-12ED-8681-E058ECB7745D}"/>
          </ac:spMkLst>
        </pc:spChg>
      </pc:sldChg>
      <pc:sldChg chg="modSp add mod ord delCm modNotesTx">
        <pc:chgData name="Elgee, Jeffrey (SPAC/PSPC)" userId="e10f0e9c-c03f-4fde-9113-11216b420c44" providerId="ADAL" clId="{0BEA5CCD-CDB7-477E-8756-157B9A0B9D9F}" dt="2024-08-15T14:02:53.278" v="5007" actId="27636"/>
        <pc:sldMkLst>
          <pc:docMk/>
          <pc:sldMk cId="2912528862" sldId="4991"/>
        </pc:sldMkLst>
        <pc:spChg chg="mod">
          <ac:chgData name="Elgee, Jeffrey (SPAC/PSPC)" userId="e10f0e9c-c03f-4fde-9113-11216b420c44" providerId="ADAL" clId="{0BEA5CCD-CDB7-477E-8756-157B9A0B9D9F}" dt="2024-08-15T14:02:53.278" v="5007" actId="27636"/>
          <ac:spMkLst>
            <pc:docMk/>
            <pc:sldMk cId="2912528862" sldId="4991"/>
            <ac:spMk id="3" creationId="{850EFA27-BB7E-A97B-CC4E-5CD87E1BCE56}"/>
          </ac:spMkLst>
        </pc:spChg>
        <pc:extLst>
          <p:ext xmlns:p="http://schemas.openxmlformats.org/presentationml/2006/main" uri="{D6D511B9-2390-475A-947B-AFAB55BFBCF1}">
            <pc226:cmChg xmlns:pc226="http://schemas.microsoft.com/office/powerpoint/2022/06/main/command" chg="del">
              <pc226:chgData name="Elgee, Jeffrey (SPAC/PSPC)" userId="e10f0e9c-c03f-4fde-9113-11216b420c44" providerId="ADAL" clId="{0BEA5CCD-CDB7-477E-8756-157B9A0B9D9F}" dt="2024-08-14T17:07:47.114" v="4773"/>
              <pc2:cmMkLst xmlns:pc2="http://schemas.microsoft.com/office/powerpoint/2019/9/main/command">
                <pc:docMk/>
                <pc:sldMk cId="2912528862" sldId="4991"/>
                <pc2:cmMk id="{A671E939-DC8C-4E10-9919-42392E18B6FD}"/>
              </pc2:cmMkLst>
            </pc226:cmChg>
          </p:ext>
        </pc:extLst>
      </pc:sldChg>
      <pc:sldChg chg="modSp">
        <pc:chgData name="Elgee, Jeffrey (SPAC/PSPC)" userId="e10f0e9c-c03f-4fde-9113-11216b420c44" providerId="ADAL" clId="{0BEA5CCD-CDB7-477E-8756-157B9A0B9D9F}" dt="2024-07-30T13:30:27.376" v="1961"/>
        <pc:sldMkLst>
          <pc:docMk/>
          <pc:sldMk cId="581567723" sldId="4998"/>
        </pc:sldMkLst>
        <pc:spChg chg="mod">
          <ac:chgData name="Elgee, Jeffrey (SPAC/PSPC)" userId="e10f0e9c-c03f-4fde-9113-11216b420c44" providerId="ADAL" clId="{0BEA5CCD-CDB7-477E-8756-157B9A0B9D9F}" dt="2024-07-30T13:30:27.376" v="1961"/>
          <ac:spMkLst>
            <pc:docMk/>
            <pc:sldMk cId="581567723" sldId="4998"/>
            <ac:spMk id="2" creationId="{9DE119AA-C27C-1F93-8533-D6E1F56A43A8}"/>
          </ac:spMkLst>
        </pc:spChg>
      </pc:sldChg>
      <pc:sldChg chg="addSp delSp modSp add mod">
        <pc:chgData name="Elgee, Jeffrey (SPAC/PSPC)" userId="e10f0e9c-c03f-4fde-9113-11216b420c44" providerId="ADAL" clId="{0BEA5CCD-CDB7-477E-8756-157B9A0B9D9F}" dt="2024-07-31T15:23:59.979" v="4111" actId="1076"/>
        <pc:sldMkLst>
          <pc:docMk/>
          <pc:sldMk cId="4030298912" sldId="4999"/>
        </pc:sldMkLst>
        <pc:spChg chg="mod">
          <ac:chgData name="Elgee, Jeffrey (SPAC/PSPC)" userId="e10f0e9c-c03f-4fde-9113-11216b420c44" providerId="ADAL" clId="{0BEA5CCD-CDB7-477E-8756-157B9A0B9D9F}" dt="2024-07-31T15:23:17.351" v="4110" actId="20577"/>
          <ac:spMkLst>
            <pc:docMk/>
            <pc:sldMk cId="4030298912" sldId="4999"/>
            <ac:spMk id="2" creationId="{530A314D-74C9-43F8-A8C5-E61B4C92159E}"/>
          </ac:spMkLst>
        </pc:spChg>
        <pc:spChg chg="add mod">
          <ac:chgData name="Elgee, Jeffrey (SPAC/PSPC)" userId="e10f0e9c-c03f-4fde-9113-11216b420c44" providerId="ADAL" clId="{0BEA5CCD-CDB7-477E-8756-157B9A0B9D9F}" dt="2024-07-30T14:19:42.906" v="2286" actId="1037"/>
          <ac:spMkLst>
            <pc:docMk/>
            <pc:sldMk cId="4030298912" sldId="4999"/>
            <ac:spMk id="4" creationId="{357BB93D-599A-6427-6C1D-0F45BA921288}"/>
          </ac:spMkLst>
        </pc:spChg>
        <pc:spChg chg="mod">
          <ac:chgData name="Elgee, Jeffrey (SPAC/PSPC)" userId="e10f0e9c-c03f-4fde-9113-11216b420c44" providerId="ADAL" clId="{0BEA5CCD-CDB7-477E-8756-157B9A0B9D9F}" dt="2024-07-30T15:40:39.061" v="2881" actId="1076"/>
          <ac:spMkLst>
            <pc:docMk/>
            <pc:sldMk cId="4030298912" sldId="4999"/>
            <ac:spMk id="11" creationId="{EAD0A152-C62E-4761-ADE3-7F36EDECB88C}"/>
          </ac:spMkLst>
        </pc:spChg>
        <pc:spChg chg="mod">
          <ac:chgData name="Elgee, Jeffrey (SPAC/PSPC)" userId="e10f0e9c-c03f-4fde-9113-11216b420c44" providerId="ADAL" clId="{0BEA5CCD-CDB7-477E-8756-157B9A0B9D9F}" dt="2024-07-30T15:40:43.192" v="2882" actId="1076"/>
          <ac:spMkLst>
            <pc:docMk/>
            <pc:sldMk cId="4030298912" sldId="4999"/>
            <ac:spMk id="12" creationId="{381A6DF4-DEEE-4465-83D3-0C713E5A99A6}"/>
          </ac:spMkLst>
        </pc:spChg>
        <pc:spChg chg="mod">
          <ac:chgData name="Elgee, Jeffrey (SPAC/PSPC)" userId="e10f0e9c-c03f-4fde-9113-11216b420c44" providerId="ADAL" clId="{0BEA5CCD-CDB7-477E-8756-157B9A0B9D9F}" dt="2024-07-31T15:18:52.990" v="4058" actId="20577"/>
          <ac:spMkLst>
            <pc:docMk/>
            <pc:sldMk cId="4030298912" sldId="4999"/>
            <ac:spMk id="13" creationId="{CBDCD3B3-6EF9-475F-8F76-2A1201FC03F1}"/>
          </ac:spMkLst>
        </pc:spChg>
        <pc:spChg chg="mod">
          <ac:chgData name="Elgee, Jeffrey (SPAC/PSPC)" userId="e10f0e9c-c03f-4fde-9113-11216b420c44" providerId="ADAL" clId="{0BEA5CCD-CDB7-477E-8756-157B9A0B9D9F}" dt="2024-07-31T15:17:05.815" v="4040" actId="255"/>
          <ac:spMkLst>
            <pc:docMk/>
            <pc:sldMk cId="4030298912" sldId="4999"/>
            <ac:spMk id="14" creationId="{19BF262A-36CF-40B6-9C6C-06CA0186C123}"/>
          </ac:spMkLst>
        </pc:spChg>
        <pc:spChg chg="mod">
          <ac:chgData name="Elgee, Jeffrey (SPAC/PSPC)" userId="e10f0e9c-c03f-4fde-9113-11216b420c44" providerId="ADAL" clId="{0BEA5CCD-CDB7-477E-8756-157B9A0B9D9F}" dt="2024-07-31T15:16:53.133" v="4039" actId="1076"/>
          <ac:spMkLst>
            <pc:docMk/>
            <pc:sldMk cId="4030298912" sldId="4999"/>
            <ac:spMk id="15" creationId="{25260485-4F7D-4488-A88E-C7AC0E82B1B0}"/>
          </ac:spMkLst>
        </pc:spChg>
        <pc:spChg chg="del mod ord">
          <ac:chgData name="Elgee, Jeffrey (SPAC/PSPC)" userId="e10f0e9c-c03f-4fde-9113-11216b420c44" providerId="ADAL" clId="{0BEA5CCD-CDB7-477E-8756-157B9A0B9D9F}" dt="2024-07-30T14:16:02.334" v="2106" actId="478"/>
          <ac:spMkLst>
            <pc:docMk/>
            <pc:sldMk cId="4030298912" sldId="4999"/>
            <ac:spMk id="17" creationId="{8CA12FE9-EE5F-4421-8CE3-1E446D37FF5C}"/>
          </ac:spMkLst>
        </pc:spChg>
        <pc:spChg chg="mod ord">
          <ac:chgData name="Elgee, Jeffrey (SPAC/PSPC)" userId="e10f0e9c-c03f-4fde-9113-11216b420c44" providerId="ADAL" clId="{0BEA5CCD-CDB7-477E-8756-157B9A0B9D9F}" dt="2024-07-30T14:19:47.987" v="2294" actId="1037"/>
          <ac:spMkLst>
            <pc:docMk/>
            <pc:sldMk cId="4030298912" sldId="4999"/>
            <ac:spMk id="18" creationId="{185A7B5A-E0AE-4F7F-BEE1-3D3A495164C6}"/>
          </ac:spMkLst>
        </pc:spChg>
        <pc:spChg chg="mod ord">
          <ac:chgData name="Elgee, Jeffrey (SPAC/PSPC)" userId="e10f0e9c-c03f-4fde-9113-11216b420c44" providerId="ADAL" clId="{0BEA5CCD-CDB7-477E-8756-157B9A0B9D9F}" dt="2024-07-30T15:40:38.432" v="2880" actId="1076"/>
          <ac:spMkLst>
            <pc:docMk/>
            <pc:sldMk cId="4030298912" sldId="4999"/>
            <ac:spMk id="19" creationId="{CABDBD21-778A-47E8-A6DF-877914454E7E}"/>
          </ac:spMkLst>
        </pc:spChg>
        <pc:spChg chg="mod ord">
          <ac:chgData name="Elgee, Jeffrey (SPAC/PSPC)" userId="e10f0e9c-c03f-4fde-9113-11216b420c44" providerId="ADAL" clId="{0BEA5CCD-CDB7-477E-8756-157B9A0B9D9F}" dt="2024-07-30T15:41:03.263" v="2901" actId="1076"/>
          <ac:spMkLst>
            <pc:docMk/>
            <pc:sldMk cId="4030298912" sldId="4999"/>
            <ac:spMk id="20" creationId="{810D54FB-162C-45B4-B348-CF410ADAB59F}"/>
          </ac:spMkLst>
        </pc:spChg>
        <pc:spChg chg="mod">
          <ac:chgData name="Elgee, Jeffrey (SPAC/PSPC)" userId="e10f0e9c-c03f-4fde-9113-11216b420c44" providerId="ADAL" clId="{0BEA5CCD-CDB7-477E-8756-157B9A0B9D9F}" dt="2024-07-30T14:21:53.801" v="2497" actId="1037"/>
          <ac:spMkLst>
            <pc:docMk/>
            <pc:sldMk cId="4030298912" sldId="4999"/>
            <ac:spMk id="21" creationId="{3A607016-685E-4175-9346-C99771454555}"/>
          </ac:spMkLst>
        </pc:spChg>
        <pc:spChg chg="del">
          <ac:chgData name="Elgee, Jeffrey (SPAC/PSPC)" userId="e10f0e9c-c03f-4fde-9113-11216b420c44" providerId="ADAL" clId="{0BEA5CCD-CDB7-477E-8756-157B9A0B9D9F}" dt="2024-07-30T14:08:52.604" v="2092" actId="478"/>
          <ac:spMkLst>
            <pc:docMk/>
            <pc:sldMk cId="4030298912" sldId="4999"/>
            <ac:spMk id="22" creationId="{D71F2BA6-CB89-42A9-9218-65D8563798BE}"/>
          </ac:spMkLst>
        </pc:spChg>
        <pc:spChg chg="del mod">
          <ac:chgData name="Elgee, Jeffrey (SPAC/PSPC)" userId="e10f0e9c-c03f-4fde-9113-11216b420c44" providerId="ADAL" clId="{0BEA5CCD-CDB7-477E-8756-157B9A0B9D9F}" dt="2024-07-30T14:08:49.083" v="2091" actId="478"/>
          <ac:spMkLst>
            <pc:docMk/>
            <pc:sldMk cId="4030298912" sldId="4999"/>
            <ac:spMk id="23" creationId="{0D76EFF8-BE53-4B83-BCAB-C1B7377E52B1}"/>
          </ac:spMkLst>
        </pc:spChg>
        <pc:spChg chg="del">
          <ac:chgData name="Elgee, Jeffrey (SPAC/PSPC)" userId="e10f0e9c-c03f-4fde-9113-11216b420c44" providerId="ADAL" clId="{0BEA5CCD-CDB7-477E-8756-157B9A0B9D9F}" dt="2024-07-30T14:08:46.059" v="2089" actId="478"/>
          <ac:spMkLst>
            <pc:docMk/>
            <pc:sldMk cId="4030298912" sldId="4999"/>
            <ac:spMk id="24" creationId="{8638DCD9-AC37-4C0D-8608-AD5BCC2447EE}"/>
          </ac:spMkLst>
        </pc:spChg>
        <pc:spChg chg="del">
          <ac:chgData name="Elgee, Jeffrey (SPAC/PSPC)" userId="e10f0e9c-c03f-4fde-9113-11216b420c44" providerId="ADAL" clId="{0BEA5CCD-CDB7-477E-8756-157B9A0B9D9F}" dt="2024-07-30T14:08:55.904" v="2093" actId="478"/>
          <ac:spMkLst>
            <pc:docMk/>
            <pc:sldMk cId="4030298912" sldId="4999"/>
            <ac:spMk id="25" creationId="{09E72399-25C3-492A-BC25-49AA88081B60}"/>
          </ac:spMkLst>
        </pc:spChg>
        <pc:spChg chg="mod">
          <ac:chgData name="Elgee, Jeffrey (SPAC/PSPC)" userId="e10f0e9c-c03f-4fde-9113-11216b420c44" providerId="ADAL" clId="{0BEA5CCD-CDB7-477E-8756-157B9A0B9D9F}" dt="2024-07-30T14:19:51.523" v="2299" actId="1037"/>
          <ac:spMkLst>
            <pc:docMk/>
            <pc:sldMk cId="4030298912" sldId="4999"/>
            <ac:spMk id="26" creationId="{53C27BE4-FFB1-4B70-A642-723DDD4C75A1}"/>
          </ac:spMkLst>
        </pc:spChg>
        <pc:spChg chg="mod">
          <ac:chgData name="Elgee, Jeffrey (SPAC/PSPC)" userId="e10f0e9c-c03f-4fde-9113-11216b420c44" providerId="ADAL" clId="{0BEA5CCD-CDB7-477E-8756-157B9A0B9D9F}" dt="2024-07-30T14:21:45.606" v="2481" actId="1037"/>
          <ac:spMkLst>
            <pc:docMk/>
            <pc:sldMk cId="4030298912" sldId="4999"/>
            <ac:spMk id="27" creationId="{2449FB96-128A-4906-81B1-FC217156D952}"/>
          </ac:spMkLst>
        </pc:spChg>
        <pc:spChg chg="mod">
          <ac:chgData name="Elgee, Jeffrey (SPAC/PSPC)" userId="e10f0e9c-c03f-4fde-9113-11216b420c44" providerId="ADAL" clId="{0BEA5CCD-CDB7-477E-8756-157B9A0B9D9F}" dt="2024-07-30T14:21:35.617" v="2459" actId="1036"/>
          <ac:spMkLst>
            <pc:docMk/>
            <pc:sldMk cId="4030298912" sldId="4999"/>
            <ac:spMk id="28" creationId="{FEBCC0BA-51F1-4927-AAC6-A02C070359D3}"/>
          </ac:spMkLst>
        </pc:spChg>
        <pc:spChg chg="del">
          <ac:chgData name="Elgee, Jeffrey (SPAC/PSPC)" userId="e10f0e9c-c03f-4fde-9113-11216b420c44" providerId="ADAL" clId="{0BEA5CCD-CDB7-477E-8756-157B9A0B9D9F}" dt="2024-07-30T14:08:39.680" v="2088" actId="478"/>
          <ac:spMkLst>
            <pc:docMk/>
            <pc:sldMk cId="4030298912" sldId="4999"/>
            <ac:spMk id="29" creationId="{597BDEF0-6DEE-4C55-B9DC-6F78166D320A}"/>
          </ac:spMkLst>
        </pc:spChg>
        <pc:spChg chg="mod ord">
          <ac:chgData name="Elgee, Jeffrey (SPAC/PSPC)" userId="e10f0e9c-c03f-4fde-9113-11216b420c44" providerId="ADAL" clId="{0BEA5CCD-CDB7-477E-8756-157B9A0B9D9F}" dt="2024-07-30T15:41:10.465" v="2902" actId="1076"/>
          <ac:spMkLst>
            <pc:docMk/>
            <pc:sldMk cId="4030298912" sldId="4999"/>
            <ac:spMk id="30" creationId="{8C74A267-9D7C-49DB-AD0B-BFC32765C326}"/>
          </ac:spMkLst>
        </pc:spChg>
        <pc:spChg chg="del ord">
          <ac:chgData name="Elgee, Jeffrey (SPAC/PSPC)" userId="e10f0e9c-c03f-4fde-9113-11216b420c44" providerId="ADAL" clId="{0BEA5CCD-CDB7-477E-8756-157B9A0B9D9F}" dt="2024-07-30T14:16:09.638" v="2107" actId="478"/>
          <ac:spMkLst>
            <pc:docMk/>
            <pc:sldMk cId="4030298912" sldId="4999"/>
            <ac:spMk id="31" creationId="{D74C0C59-3C42-4FB6-896F-CD15E54AC154}"/>
          </ac:spMkLst>
        </pc:spChg>
        <pc:spChg chg="mod ord">
          <ac:chgData name="Elgee, Jeffrey (SPAC/PSPC)" userId="e10f0e9c-c03f-4fde-9113-11216b420c44" providerId="ADAL" clId="{0BEA5CCD-CDB7-477E-8756-157B9A0B9D9F}" dt="2024-07-30T15:41:13.039" v="2903" actId="1076"/>
          <ac:spMkLst>
            <pc:docMk/>
            <pc:sldMk cId="4030298912" sldId="4999"/>
            <ac:spMk id="32" creationId="{E35E10CF-2936-4ACE-877B-AF6B63FEB5A5}"/>
          </ac:spMkLst>
        </pc:spChg>
        <pc:spChg chg="mod">
          <ac:chgData name="Elgee, Jeffrey (SPAC/PSPC)" userId="e10f0e9c-c03f-4fde-9113-11216b420c44" providerId="ADAL" clId="{0BEA5CCD-CDB7-477E-8756-157B9A0B9D9F}" dt="2024-07-30T14:21:21.687" v="2431" actId="1036"/>
          <ac:spMkLst>
            <pc:docMk/>
            <pc:sldMk cId="4030298912" sldId="4999"/>
            <ac:spMk id="33" creationId="{82E52318-D713-42FD-8888-6E57B1C6E626}"/>
          </ac:spMkLst>
        </pc:spChg>
        <pc:spChg chg="del">
          <ac:chgData name="Elgee, Jeffrey (SPAC/PSPC)" userId="e10f0e9c-c03f-4fde-9113-11216b420c44" providerId="ADAL" clId="{0BEA5CCD-CDB7-477E-8756-157B9A0B9D9F}" dt="2024-07-30T14:08:59.502" v="2094" actId="478"/>
          <ac:spMkLst>
            <pc:docMk/>
            <pc:sldMk cId="4030298912" sldId="4999"/>
            <ac:spMk id="34" creationId="{6223F58F-F1AA-49D0-8AF5-736467AB99EB}"/>
          </ac:spMkLst>
        </pc:spChg>
        <pc:spChg chg="mod">
          <ac:chgData name="Elgee, Jeffrey (SPAC/PSPC)" userId="e10f0e9c-c03f-4fde-9113-11216b420c44" providerId="ADAL" clId="{0BEA5CCD-CDB7-477E-8756-157B9A0B9D9F}" dt="2024-07-30T14:21:15.374" v="2410" actId="1036"/>
          <ac:spMkLst>
            <pc:docMk/>
            <pc:sldMk cId="4030298912" sldId="4999"/>
            <ac:spMk id="35" creationId="{CB389386-6D09-4BE9-B976-156F7A6D46D6}"/>
          </ac:spMkLst>
        </pc:spChg>
        <pc:spChg chg="mod">
          <ac:chgData name="Elgee, Jeffrey (SPAC/PSPC)" userId="e10f0e9c-c03f-4fde-9113-11216b420c44" providerId="ADAL" clId="{0BEA5CCD-CDB7-477E-8756-157B9A0B9D9F}" dt="2024-07-30T14:21:07.745" v="2384" actId="1036"/>
          <ac:spMkLst>
            <pc:docMk/>
            <pc:sldMk cId="4030298912" sldId="4999"/>
            <ac:spMk id="36" creationId="{870C755C-D32F-4A71-8B94-3C7C95F164E2}"/>
          </ac:spMkLst>
        </pc:spChg>
        <pc:picChg chg="add mod">
          <ac:chgData name="Elgee, Jeffrey (SPAC/PSPC)" userId="e10f0e9c-c03f-4fde-9113-11216b420c44" providerId="ADAL" clId="{0BEA5CCD-CDB7-477E-8756-157B9A0B9D9F}" dt="2024-07-31T15:23:59.979" v="4111" actId="1076"/>
          <ac:picMkLst>
            <pc:docMk/>
            <pc:sldMk cId="4030298912" sldId="4999"/>
            <ac:picMk id="3" creationId="{AA1A692D-4596-ED64-7D61-A5AC09F43301}"/>
          </ac:picMkLst>
        </pc:picChg>
      </pc:sldChg>
      <pc:sldChg chg="addSp modSp add mod ord modNotesTx">
        <pc:chgData name="Elgee, Jeffrey (SPAC/PSPC)" userId="e10f0e9c-c03f-4fde-9113-11216b420c44" providerId="ADAL" clId="{0BEA5CCD-CDB7-477E-8756-157B9A0B9D9F}" dt="2024-08-15T14:02:09.722" v="5005" actId="20577"/>
        <pc:sldMkLst>
          <pc:docMk/>
          <pc:sldMk cId="257696756" sldId="5009"/>
        </pc:sldMkLst>
        <pc:spChg chg="add mod">
          <ac:chgData name="Elgee, Jeffrey (SPAC/PSPC)" userId="e10f0e9c-c03f-4fde-9113-11216b420c44" providerId="ADAL" clId="{0BEA5CCD-CDB7-477E-8756-157B9A0B9D9F}" dt="2024-07-30T15:28:14.971" v="2856" actId="1076"/>
          <ac:spMkLst>
            <pc:docMk/>
            <pc:sldMk cId="257696756" sldId="5009"/>
            <ac:spMk id="3" creationId="{38FBB42E-0A88-5259-7591-B445908E494B}"/>
          </ac:spMkLst>
        </pc:spChg>
        <pc:picChg chg="add mod">
          <ac:chgData name="Elgee, Jeffrey (SPAC/PSPC)" userId="e10f0e9c-c03f-4fde-9113-11216b420c44" providerId="ADAL" clId="{0BEA5CCD-CDB7-477E-8756-157B9A0B9D9F}" dt="2024-07-30T15:28:14.971" v="2856" actId="1076"/>
          <ac:picMkLst>
            <pc:docMk/>
            <pc:sldMk cId="257696756" sldId="5009"/>
            <ac:picMk id="4" creationId="{B2230588-7505-AFC5-92FA-9B417C45450D}"/>
          </ac:picMkLst>
        </pc:picChg>
      </pc:sldChg>
      <pc:sldChg chg="addSp modSp new mod ord modShow">
        <pc:chgData name="Elgee, Jeffrey (SPAC/PSPC)" userId="e10f0e9c-c03f-4fde-9113-11216b420c44" providerId="ADAL" clId="{0BEA5CCD-CDB7-477E-8756-157B9A0B9D9F}" dt="2024-08-15T14:05:11.950" v="5026" actId="20577"/>
        <pc:sldMkLst>
          <pc:docMk/>
          <pc:sldMk cId="1650686714" sldId="5010"/>
        </pc:sldMkLst>
        <pc:spChg chg="mod">
          <ac:chgData name="Elgee, Jeffrey (SPAC/PSPC)" userId="e10f0e9c-c03f-4fde-9113-11216b420c44" providerId="ADAL" clId="{0BEA5CCD-CDB7-477E-8756-157B9A0B9D9F}" dt="2024-07-30T15:18:40.471" v="2705" actId="20577"/>
          <ac:spMkLst>
            <pc:docMk/>
            <pc:sldMk cId="1650686714" sldId="5010"/>
            <ac:spMk id="2" creationId="{A0732E3F-0C57-7047-63C6-D6AD5EBDE382}"/>
          </ac:spMkLst>
        </pc:spChg>
        <pc:spChg chg="add mod">
          <ac:chgData name="Elgee, Jeffrey (SPAC/PSPC)" userId="e10f0e9c-c03f-4fde-9113-11216b420c44" providerId="ADAL" clId="{0BEA5CCD-CDB7-477E-8756-157B9A0B9D9F}" dt="2024-07-30T15:23:00.847" v="2796" actId="207"/>
          <ac:spMkLst>
            <pc:docMk/>
            <pc:sldMk cId="1650686714" sldId="5010"/>
            <ac:spMk id="3" creationId="{F7F9C321-5045-FC17-DD16-3AF5F6E5AAB2}"/>
          </ac:spMkLst>
        </pc:spChg>
        <pc:spChg chg="add mod">
          <ac:chgData name="Elgee, Jeffrey (SPAC/PSPC)" userId="e10f0e9c-c03f-4fde-9113-11216b420c44" providerId="ADAL" clId="{0BEA5CCD-CDB7-477E-8756-157B9A0B9D9F}" dt="2024-07-30T15:18:53.705" v="2719" actId="1036"/>
          <ac:spMkLst>
            <pc:docMk/>
            <pc:sldMk cId="1650686714" sldId="5010"/>
            <ac:spMk id="4" creationId="{FB4D97CD-4E3A-8D73-6C78-0E130C8F9229}"/>
          </ac:spMkLst>
        </pc:spChg>
        <pc:spChg chg="add mod">
          <ac:chgData name="Elgee, Jeffrey (SPAC/PSPC)" userId="e10f0e9c-c03f-4fde-9113-11216b420c44" providerId="ADAL" clId="{0BEA5CCD-CDB7-477E-8756-157B9A0B9D9F}" dt="2024-07-30T15:21:16.165" v="2795" actId="20577"/>
          <ac:spMkLst>
            <pc:docMk/>
            <pc:sldMk cId="1650686714" sldId="5010"/>
            <ac:spMk id="5" creationId="{35521651-F690-5D7A-EC35-650FCBE5BE26}"/>
          </ac:spMkLst>
        </pc:spChg>
        <pc:spChg chg="add mod">
          <ac:chgData name="Elgee, Jeffrey (SPAC/PSPC)" userId="e10f0e9c-c03f-4fde-9113-11216b420c44" providerId="ADAL" clId="{0BEA5CCD-CDB7-477E-8756-157B9A0B9D9F}" dt="2024-07-30T15:18:10.405" v="2599" actId="14100"/>
          <ac:spMkLst>
            <pc:docMk/>
            <pc:sldMk cId="1650686714" sldId="5010"/>
            <ac:spMk id="6" creationId="{D2E6727D-6C14-1EB8-AA24-DDFF078476B3}"/>
          </ac:spMkLst>
        </pc:spChg>
        <pc:spChg chg="add mod">
          <ac:chgData name="Elgee, Jeffrey (SPAC/PSPC)" userId="e10f0e9c-c03f-4fde-9113-11216b420c44" providerId="ADAL" clId="{0BEA5CCD-CDB7-477E-8756-157B9A0B9D9F}" dt="2024-07-30T15:23:50.563" v="2842" actId="20577"/>
          <ac:spMkLst>
            <pc:docMk/>
            <pc:sldMk cId="1650686714" sldId="5010"/>
            <ac:spMk id="7" creationId="{8863DCB0-B132-7181-30DE-FAD1B0C0DDF6}"/>
          </ac:spMkLst>
        </pc:spChg>
        <pc:spChg chg="add mod">
          <ac:chgData name="Elgee, Jeffrey (SPAC/PSPC)" userId="e10f0e9c-c03f-4fde-9113-11216b420c44" providerId="ADAL" clId="{0BEA5CCD-CDB7-477E-8756-157B9A0B9D9F}" dt="2024-07-30T15:18:10.405" v="2599" actId="14100"/>
          <ac:spMkLst>
            <pc:docMk/>
            <pc:sldMk cId="1650686714" sldId="5010"/>
            <ac:spMk id="8" creationId="{947E9467-6EE6-FBB6-D209-9337B224B714}"/>
          </ac:spMkLst>
        </pc:spChg>
        <pc:spChg chg="add mod">
          <ac:chgData name="Elgee, Jeffrey (SPAC/PSPC)" userId="e10f0e9c-c03f-4fde-9113-11216b420c44" providerId="ADAL" clId="{0BEA5CCD-CDB7-477E-8756-157B9A0B9D9F}" dt="2024-08-15T14:05:11.950" v="5026" actId="20577"/>
          <ac:spMkLst>
            <pc:docMk/>
            <pc:sldMk cId="1650686714" sldId="5010"/>
            <ac:spMk id="9" creationId="{9FB2266D-787A-60E8-67B4-EC9D1650C40D}"/>
          </ac:spMkLst>
        </pc:spChg>
        <pc:spChg chg="add mod">
          <ac:chgData name="Elgee, Jeffrey (SPAC/PSPC)" userId="e10f0e9c-c03f-4fde-9113-11216b420c44" providerId="ADAL" clId="{0BEA5CCD-CDB7-477E-8756-157B9A0B9D9F}" dt="2024-07-30T15:18:10.405" v="2599" actId="14100"/>
          <ac:spMkLst>
            <pc:docMk/>
            <pc:sldMk cId="1650686714" sldId="5010"/>
            <ac:spMk id="10" creationId="{FFCF80D2-D173-6A12-3CB2-EEFA7D2F0280}"/>
          </ac:spMkLst>
        </pc:spChg>
        <pc:spChg chg="add mod">
          <ac:chgData name="Elgee, Jeffrey (SPAC/PSPC)" userId="e10f0e9c-c03f-4fde-9113-11216b420c44" providerId="ADAL" clId="{0BEA5CCD-CDB7-477E-8756-157B9A0B9D9F}" dt="2024-07-30T15:28:29.850" v="2857" actId="1076"/>
          <ac:spMkLst>
            <pc:docMk/>
            <pc:sldMk cId="1650686714" sldId="5010"/>
            <ac:spMk id="11" creationId="{417F5558-6A6D-C548-65F5-FB74BF755ABF}"/>
          </ac:spMkLst>
        </pc:spChg>
        <pc:picChg chg="add mod">
          <ac:chgData name="Elgee, Jeffrey (SPAC/PSPC)" userId="e10f0e9c-c03f-4fde-9113-11216b420c44" providerId="ADAL" clId="{0BEA5CCD-CDB7-477E-8756-157B9A0B9D9F}" dt="2024-07-30T15:28:29.850" v="2857" actId="1076"/>
          <ac:picMkLst>
            <pc:docMk/>
            <pc:sldMk cId="1650686714" sldId="5010"/>
            <ac:picMk id="12" creationId="{39BF9B54-2D0E-BCC0-327A-27BBE9DEF27F}"/>
          </ac:picMkLst>
        </pc:picChg>
      </pc:sldChg>
      <pc:sldChg chg="modSp add mod ord">
        <pc:chgData name="Elgee, Jeffrey (SPAC/PSPC)" userId="e10f0e9c-c03f-4fde-9113-11216b420c44" providerId="ADAL" clId="{0BEA5CCD-CDB7-477E-8756-157B9A0B9D9F}" dt="2024-08-15T14:30:11.852" v="5608" actId="20577"/>
        <pc:sldMkLst>
          <pc:docMk/>
          <pc:sldMk cId="2100399840" sldId="5011"/>
        </pc:sldMkLst>
        <pc:spChg chg="mod">
          <ac:chgData name="Elgee, Jeffrey (SPAC/PSPC)" userId="e10f0e9c-c03f-4fde-9113-11216b420c44" providerId="ADAL" clId="{0BEA5CCD-CDB7-477E-8756-157B9A0B9D9F}" dt="2024-08-15T14:30:11.852" v="5608" actId="20577"/>
          <ac:spMkLst>
            <pc:docMk/>
            <pc:sldMk cId="2100399840" sldId="5011"/>
            <ac:spMk id="3" creationId="{63853EAE-6C40-7F6A-CD9C-4F90675A3F9D}"/>
          </ac:spMkLst>
        </pc:spChg>
      </pc:sldChg>
      <pc:sldChg chg="addSp delSp modSp add mod">
        <pc:chgData name="Elgee, Jeffrey (SPAC/PSPC)" userId="e10f0e9c-c03f-4fde-9113-11216b420c44" providerId="ADAL" clId="{0BEA5CCD-CDB7-477E-8756-157B9A0B9D9F}" dt="2024-08-14T16:10:38.448" v="4747" actId="20577"/>
        <pc:sldMkLst>
          <pc:docMk/>
          <pc:sldMk cId="2933910877" sldId="5014"/>
        </pc:sldMkLst>
        <pc:spChg chg="mod">
          <ac:chgData name="Elgee, Jeffrey (SPAC/PSPC)" userId="e10f0e9c-c03f-4fde-9113-11216b420c44" providerId="ADAL" clId="{0BEA5CCD-CDB7-477E-8756-157B9A0B9D9F}" dt="2024-08-14T16:10:38.448" v="4747" actId="20577"/>
          <ac:spMkLst>
            <pc:docMk/>
            <pc:sldMk cId="2933910877" sldId="5014"/>
            <ac:spMk id="2" creationId="{21B46FA5-33EE-8DB6-0B99-423F3FBF7201}"/>
          </ac:spMkLst>
        </pc:spChg>
        <pc:spChg chg="del">
          <ac:chgData name="Elgee, Jeffrey (SPAC/PSPC)" userId="e10f0e9c-c03f-4fde-9113-11216b420c44" providerId="ADAL" clId="{0BEA5CCD-CDB7-477E-8756-157B9A0B9D9F}" dt="2024-07-30T15:58:11.920" v="2907" actId="478"/>
          <ac:spMkLst>
            <pc:docMk/>
            <pc:sldMk cId="2933910877" sldId="5014"/>
            <ac:spMk id="3" creationId="{986FC7D4-5DD4-53C0-5A66-A818D0495E96}"/>
          </ac:spMkLst>
        </pc:spChg>
        <pc:spChg chg="add mod">
          <ac:chgData name="Elgee, Jeffrey (SPAC/PSPC)" userId="e10f0e9c-c03f-4fde-9113-11216b420c44" providerId="ADAL" clId="{0BEA5CCD-CDB7-477E-8756-157B9A0B9D9F}" dt="2024-07-30T16:01:59.585" v="2920"/>
          <ac:spMkLst>
            <pc:docMk/>
            <pc:sldMk cId="2933910877" sldId="5014"/>
            <ac:spMk id="7" creationId="{C9755748-E5F8-6A3B-3C2D-E9F7BB95B5E0}"/>
          </ac:spMkLst>
        </pc:spChg>
        <pc:picChg chg="add mod">
          <ac:chgData name="Elgee, Jeffrey (SPAC/PSPC)" userId="e10f0e9c-c03f-4fde-9113-11216b420c44" providerId="ADAL" clId="{0BEA5CCD-CDB7-477E-8756-157B9A0B9D9F}" dt="2024-07-31T17:51:44.754" v="4664" actId="1582"/>
          <ac:picMkLst>
            <pc:docMk/>
            <pc:sldMk cId="2933910877" sldId="5014"/>
            <ac:picMk id="6" creationId="{73E301A0-28F5-289B-F8E1-65C8C76861F8}"/>
          </ac:picMkLst>
        </pc:picChg>
        <pc:picChg chg="add mod">
          <ac:chgData name="Elgee, Jeffrey (SPAC/PSPC)" userId="e10f0e9c-c03f-4fde-9113-11216b420c44" providerId="ADAL" clId="{0BEA5CCD-CDB7-477E-8756-157B9A0B9D9F}" dt="2024-07-30T16:01:59.585" v="2920"/>
          <ac:picMkLst>
            <pc:docMk/>
            <pc:sldMk cId="2933910877" sldId="5014"/>
            <ac:picMk id="8" creationId="{A4DE673F-0F75-E950-DE66-BB5C94B93C9D}"/>
          </ac:picMkLst>
        </pc:picChg>
      </pc:sldChg>
      <pc:sldChg chg="addSp modSp new mod">
        <pc:chgData name="Elgee, Jeffrey (SPAC/PSPC)" userId="e10f0e9c-c03f-4fde-9113-11216b420c44" providerId="ADAL" clId="{0BEA5CCD-CDB7-477E-8756-157B9A0B9D9F}" dt="2024-07-31T15:47:05.208" v="4355" actId="20577"/>
        <pc:sldMkLst>
          <pc:docMk/>
          <pc:sldMk cId="2477317699" sldId="5015"/>
        </pc:sldMkLst>
        <pc:spChg chg="mod">
          <ac:chgData name="Elgee, Jeffrey (SPAC/PSPC)" userId="e10f0e9c-c03f-4fde-9113-11216b420c44" providerId="ADAL" clId="{0BEA5CCD-CDB7-477E-8756-157B9A0B9D9F}" dt="2024-07-31T15:27:47.338" v="4116" actId="20577"/>
          <ac:spMkLst>
            <pc:docMk/>
            <pc:sldMk cId="2477317699" sldId="5015"/>
            <ac:spMk id="2" creationId="{BFB23011-587B-85D6-1A9A-EF70D4AD5CD6}"/>
          </ac:spMkLst>
        </pc:spChg>
        <pc:spChg chg="add mod">
          <ac:chgData name="Elgee, Jeffrey (SPAC/PSPC)" userId="e10f0e9c-c03f-4fde-9113-11216b420c44" providerId="ADAL" clId="{0BEA5CCD-CDB7-477E-8756-157B9A0B9D9F}" dt="2024-07-31T15:47:05.208" v="4355" actId="20577"/>
          <ac:spMkLst>
            <pc:docMk/>
            <pc:sldMk cId="2477317699" sldId="5015"/>
            <ac:spMk id="4" creationId="{1083FE17-07AC-C668-5DC4-F549190469EF}"/>
          </ac:spMkLst>
        </pc:spChg>
        <pc:picChg chg="add mod">
          <ac:chgData name="Elgee, Jeffrey (SPAC/PSPC)" userId="e10f0e9c-c03f-4fde-9113-11216b420c44" providerId="ADAL" clId="{0BEA5CCD-CDB7-477E-8756-157B9A0B9D9F}" dt="2024-07-31T15:24:03.854" v="4112"/>
          <ac:picMkLst>
            <pc:docMk/>
            <pc:sldMk cId="2477317699" sldId="5015"/>
            <ac:picMk id="3" creationId="{0384E7DA-6668-0975-6D14-D5C196E57208}"/>
          </ac:picMkLst>
        </pc:picChg>
      </pc:sldChg>
      <pc:sldChg chg="addSp modSp new mod">
        <pc:chgData name="Elgee, Jeffrey (SPAC/PSPC)" userId="e10f0e9c-c03f-4fde-9113-11216b420c44" providerId="ADAL" clId="{0BEA5CCD-CDB7-477E-8756-157B9A0B9D9F}" dt="2024-07-31T15:50:02.085" v="4384" actId="1076"/>
        <pc:sldMkLst>
          <pc:docMk/>
          <pc:sldMk cId="2051072428" sldId="5016"/>
        </pc:sldMkLst>
        <pc:spChg chg="mod">
          <ac:chgData name="Elgee, Jeffrey (SPAC/PSPC)" userId="e10f0e9c-c03f-4fde-9113-11216b420c44" providerId="ADAL" clId="{0BEA5CCD-CDB7-477E-8756-157B9A0B9D9F}" dt="2024-07-31T15:48:25.230" v="4370" actId="20577"/>
          <ac:spMkLst>
            <pc:docMk/>
            <pc:sldMk cId="2051072428" sldId="5016"/>
            <ac:spMk id="2" creationId="{29358890-DCDA-9D45-525E-E4C2B988FD8B}"/>
          </ac:spMkLst>
        </pc:spChg>
        <pc:spChg chg="add mod">
          <ac:chgData name="Elgee, Jeffrey (SPAC/PSPC)" userId="e10f0e9c-c03f-4fde-9113-11216b420c44" providerId="ADAL" clId="{0BEA5CCD-CDB7-477E-8756-157B9A0B9D9F}" dt="2024-07-31T15:50:02.085" v="4384" actId="1076"/>
          <ac:spMkLst>
            <pc:docMk/>
            <pc:sldMk cId="2051072428" sldId="5016"/>
            <ac:spMk id="3" creationId="{4C52D337-9957-7B5D-DAF2-8D9B3842762F}"/>
          </ac:spMkLst>
        </pc:spChg>
        <pc:picChg chg="add mod">
          <ac:chgData name="Elgee, Jeffrey (SPAC/PSPC)" userId="e10f0e9c-c03f-4fde-9113-11216b420c44" providerId="ADAL" clId="{0BEA5CCD-CDB7-477E-8756-157B9A0B9D9F}" dt="2024-07-31T15:50:02.085" v="4384" actId="1076"/>
          <ac:picMkLst>
            <pc:docMk/>
            <pc:sldMk cId="2051072428" sldId="5016"/>
            <ac:picMk id="4" creationId="{9FE4EB6B-0C85-9D55-5132-B101EF04B0B1}"/>
          </ac:picMkLst>
        </pc:picChg>
      </pc:sldChg>
      <pc:sldChg chg="addSp modSp new mod">
        <pc:chgData name="Elgee, Jeffrey (SPAC/PSPC)" userId="e10f0e9c-c03f-4fde-9113-11216b420c44" providerId="ADAL" clId="{0BEA5CCD-CDB7-477E-8756-157B9A0B9D9F}" dt="2024-07-31T15:49:45.046" v="4381" actId="1076"/>
        <pc:sldMkLst>
          <pc:docMk/>
          <pc:sldMk cId="1454300061" sldId="5017"/>
        </pc:sldMkLst>
        <pc:spChg chg="mod">
          <ac:chgData name="Elgee, Jeffrey (SPAC/PSPC)" userId="e10f0e9c-c03f-4fde-9113-11216b420c44" providerId="ADAL" clId="{0BEA5CCD-CDB7-477E-8756-157B9A0B9D9F}" dt="2024-07-31T15:49:12.227" v="4378" actId="27636"/>
          <ac:spMkLst>
            <pc:docMk/>
            <pc:sldMk cId="1454300061" sldId="5017"/>
            <ac:spMk id="2" creationId="{809BB165-F809-F512-45EE-DEDC326A44D0}"/>
          </ac:spMkLst>
        </pc:spChg>
        <pc:spChg chg="add mod">
          <ac:chgData name="Elgee, Jeffrey (SPAC/PSPC)" userId="e10f0e9c-c03f-4fde-9113-11216b420c44" providerId="ADAL" clId="{0BEA5CCD-CDB7-477E-8756-157B9A0B9D9F}" dt="2024-07-31T15:49:45.046" v="4381" actId="1076"/>
          <ac:spMkLst>
            <pc:docMk/>
            <pc:sldMk cId="1454300061" sldId="5017"/>
            <ac:spMk id="3" creationId="{C4383844-C3CE-4A62-F026-36673844724E}"/>
          </ac:spMkLst>
        </pc:spChg>
        <pc:picChg chg="add mod">
          <ac:chgData name="Elgee, Jeffrey (SPAC/PSPC)" userId="e10f0e9c-c03f-4fde-9113-11216b420c44" providerId="ADAL" clId="{0BEA5CCD-CDB7-477E-8756-157B9A0B9D9F}" dt="2024-07-31T15:49:45.046" v="4381" actId="1076"/>
          <ac:picMkLst>
            <pc:docMk/>
            <pc:sldMk cId="1454300061" sldId="5017"/>
            <ac:picMk id="4" creationId="{6A730090-4B8F-D4CA-C97A-CB9754119373}"/>
          </ac:picMkLst>
        </pc:picChg>
      </pc:sldChg>
      <pc:sldChg chg="addSp delSp modSp new mod">
        <pc:chgData name="Elgee, Jeffrey (SPAC/PSPC)" userId="e10f0e9c-c03f-4fde-9113-11216b420c44" providerId="ADAL" clId="{0BEA5CCD-CDB7-477E-8756-157B9A0B9D9F}" dt="2024-07-31T15:54:42.766" v="4471" actId="1076"/>
        <pc:sldMkLst>
          <pc:docMk/>
          <pc:sldMk cId="3259092804" sldId="5018"/>
        </pc:sldMkLst>
        <pc:spChg chg="mod">
          <ac:chgData name="Elgee, Jeffrey (SPAC/PSPC)" userId="e10f0e9c-c03f-4fde-9113-11216b420c44" providerId="ADAL" clId="{0BEA5CCD-CDB7-477E-8756-157B9A0B9D9F}" dt="2024-07-31T15:50:49.858" v="4394" actId="27636"/>
          <ac:spMkLst>
            <pc:docMk/>
            <pc:sldMk cId="3259092804" sldId="5018"/>
            <ac:spMk id="2" creationId="{E2E002CE-8EF1-DDFD-24EA-6F2570759FCC}"/>
          </ac:spMkLst>
        </pc:spChg>
        <pc:spChg chg="add mod">
          <ac:chgData name="Elgee, Jeffrey (SPAC/PSPC)" userId="e10f0e9c-c03f-4fde-9113-11216b420c44" providerId="ADAL" clId="{0BEA5CCD-CDB7-477E-8756-157B9A0B9D9F}" dt="2024-07-31T15:54:42.766" v="4471" actId="1076"/>
          <ac:spMkLst>
            <pc:docMk/>
            <pc:sldMk cId="3259092804" sldId="5018"/>
            <ac:spMk id="4" creationId="{C7EEBD97-7B77-8F19-8364-1778CD59EF70}"/>
          </ac:spMkLst>
        </pc:spChg>
        <pc:picChg chg="add del mod">
          <ac:chgData name="Elgee, Jeffrey (SPAC/PSPC)" userId="e10f0e9c-c03f-4fde-9113-11216b420c44" providerId="ADAL" clId="{0BEA5CCD-CDB7-477E-8756-157B9A0B9D9F}" dt="2024-07-31T15:53:48.473" v="4462" actId="478"/>
          <ac:picMkLst>
            <pc:docMk/>
            <pc:sldMk cId="3259092804" sldId="5018"/>
            <ac:picMk id="3" creationId="{FF4A040C-3933-B189-56FE-D8C50A4905D4}"/>
          </ac:picMkLst>
        </pc:picChg>
        <pc:picChg chg="add mod">
          <ac:chgData name="Elgee, Jeffrey (SPAC/PSPC)" userId="e10f0e9c-c03f-4fde-9113-11216b420c44" providerId="ADAL" clId="{0BEA5CCD-CDB7-477E-8756-157B9A0B9D9F}" dt="2024-07-31T15:54:42.766" v="4471" actId="1076"/>
          <ac:picMkLst>
            <pc:docMk/>
            <pc:sldMk cId="3259092804" sldId="5018"/>
            <ac:picMk id="5" creationId="{B19C7101-560E-8F3A-A177-991F841221C1}"/>
          </ac:picMkLst>
        </pc:picChg>
      </pc:sldChg>
      <pc:sldChg chg="addSp delSp modSp new mod">
        <pc:chgData name="Elgee, Jeffrey (SPAC/PSPC)" userId="e10f0e9c-c03f-4fde-9113-11216b420c44" providerId="ADAL" clId="{0BEA5CCD-CDB7-477E-8756-157B9A0B9D9F}" dt="2024-07-31T17:50:44.731" v="4659"/>
        <pc:sldMkLst>
          <pc:docMk/>
          <pc:sldMk cId="3612331858" sldId="5019"/>
        </pc:sldMkLst>
        <pc:spChg chg="mod">
          <ac:chgData name="Elgee, Jeffrey (SPAC/PSPC)" userId="e10f0e9c-c03f-4fde-9113-11216b420c44" providerId="ADAL" clId="{0BEA5CCD-CDB7-477E-8756-157B9A0B9D9F}" dt="2024-07-31T17:18:20.238" v="4525" actId="20577"/>
          <ac:spMkLst>
            <pc:docMk/>
            <pc:sldMk cId="3612331858" sldId="5019"/>
            <ac:spMk id="2" creationId="{DDD1D901-0DB1-131C-ECE7-292E7AEBABBB}"/>
          </ac:spMkLst>
        </pc:spChg>
        <pc:spChg chg="add del mod">
          <ac:chgData name="Elgee, Jeffrey (SPAC/PSPC)" userId="e10f0e9c-c03f-4fde-9113-11216b420c44" providerId="ADAL" clId="{0BEA5CCD-CDB7-477E-8756-157B9A0B9D9F}" dt="2024-07-31T15:54:34.701" v="4469" actId="21"/>
          <ac:spMkLst>
            <pc:docMk/>
            <pc:sldMk cId="3612331858" sldId="5019"/>
            <ac:spMk id="3" creationId="{C7EEBD97-7B77-8F19-8364-1778CD59EF70}"/>
          </ac:spMkLst>
        </pc:spChg>
        <pc:spChg chg="add del mod">
          <ac:chgData name="Elgee, Jeffrey (SPAC/PSPC)" userId="e10f0e9c-c03f-4fde-9113-11216b420c44" providerId="ADAL" clId="{0BEA5CCD-CDB7-477E-8756-157B9A0B9D9F}" dt="2024-07-31T17:20:18.319" v="4533" actId="478"/>
          <ac:spMkLst>
            <pc:docMk/>
            <pc:sldMk cId="3612331858" sldId="5019"/>
            <ac:spMk id="6" creationId="{24CD1446-833A-A09D-A1F4-BCE750A703D9}"/>
          </ac:spMkLst>
        </pc:spChg>
        <pc:spChg chg="add mod">
          <ac:chgData name="Elgee, Jeffrey (SPAC/PSPC)" userId="e10f0e9c-c03f-4fde-9113-11216b420c44" providerId="ADAL" clId="{0BEA5CCD-CDB7-477E-8756-157B9A0B9D9F}" dt="2024-07-31T17:35:46.498" v="4594" actId="1037"/>
          <ac:spMkLst>
            <pc:docMk/>
            <pc:sldMk cId="3612331858" sldId="5019"/>
            <ac:spMk id="15" creationId="{AD853EB0-D48C-ECE2-9A46-11728F9C378A}"/>
          </ac:spMkLst>
        </pc:spChg>
        <pc:spChg chg="add mod">
          <ac:chgData name="Elgee, Jeffrey (SPAC/PSPC)" userId="e10f0e9c-c03f-4fde-9113-11216b420c44" providerId="ADAL" clId="{0BEA5CCD-CDB7-477E-8756-157B9A0B9D9F}" dt="2024-07-31T17:48:25.857" v="4658" actId="20577"/>
          <ac:spMkLst>
            <pc:docMk/>
            <pc:sldMk cId="3612331858" sldId="5019"/>
            <ac:spMk id="16" creationId="{FA1BB9C4-4EAF-51CE-B1C5-F7681DAF3E8D}"/>
          </ac:spMkLst>
        </pc:spChg>
        <pc:spChg chg="add mod">
          <ac:chgData name="Elgee, Jeffrey (SPAC/PSPC)" userId="e10f0e9c-c03f-4fde-9113-11216b420c44" providerId="ADAL" clId="{0BEA5CCD-CDB7-477E-8756-157B9A0B9D9F}" dt="2024-07-31T17:38:35.726" v="4607"/>
          <ac:spMkLst>
            <pc:docMk/>
            <pc:sldMk cId="3612331858" sldId="5019"/>
            <ac:spMk id="17" creationId="{985AD11C-EACE-0954-BAFE-2AB525EA7F02}"/>
          </ac:spMkLst>
        </pc:spChg>
        <pc:spChg chg="add mod">
          <ac:chgData name="Elgee, Jeffrey (SPAC/PSPC)" userId="e10f0e9c-c03f-4fde-9113-11216b420c44" providerId="ADAL" clId="{0BEA5CCD-CDB7-477E-8756-157B9A0B9D9F}" dt="2024-07-31T17:50:44.731" v="4659"/>
          <ac:spMkLst>
            <pc:docMk/>
            <pc:sldMk cId="3612331858" sldId="5019"/>
            <ac:spMk id="18" creationId="{D296AB4F-0004-63D1-CF54-E59BC1F61888}"/>
          </ac:spMkLst>
        </pc:spChg>
        <pc:picChg chg="add del mod">
          <ac:chgData name="Elgee, Jeffrey (SPAC/PSPC)" userId="e10f0e9c-c03f-4fde-9113-11216b420c44" providerId="ADAL" clId="{0BEA5CCD-CDB7-477E-8756-157B9A0B9D9F}" dt="2024-07-31T15:54:34.701" v="4469" actId="21"/>
          <ac:picMkLst>
            <pc:docMk/>
            <pc:sldMk cId="3612331858" sldId="5019"/>
            <ac:picMk id="4" creationId="{B19C7101-560E-8F3A-A177-991F841221C1}"/>
          </ac:picMkLst>
        </pc:picChg>
        <pc:picChg chg="add mod modCrop">
          <ac:chgData name="Elgee, Jeffrey (SPAC/PSPC)" userId="e10f0e9c-c03f-4fde-9113-11216b420c44" providerId="ADAL" clId="{0BEA5CCD-CDB7-477E-8756-157B9A0B9D9F}" dt="2024-07-31T17:35:12.299" v="4587" actId="14100"/>
          <ac:picMkLst>
            <pc:docMk/>
            <pc:sldMk cId="3612331858" sldId="5019"/>
            <ac:picMk id="8" creationId="{00B0DCEB-332D-D864-B612-8EF23D54354C}"/>
          </ac:picMkLst>
        </pc:picChg>
        <pc:picChg chg="add del mod">
          <ac:chgData name="Elgee, Jeffrey (SPAC/PSPC)" userId="e10f0e9c-c03f-4fde-9113-11216b420c44" providerId="ADAL" clId="{0BEA5CCD-CDB7-477E-8756-157B9A0B9D9F}" dt="2024-07-31T17:25:16.838" v="4545" actId="478"/>
          <ac:picMkLst>
            <pc:docMk/>
            <pc:sldMk cId="3612331858" sldId="5019"/>
            <ac:picMk id="10" creationId="{1527F508-F0B7-1F3D-3539-057B0679932D}"/>
          </ac:picMkLst>
        </pc:picChg>
        <pc:picChg chg="add mod modCrop">
          <ac:chgData name="Elgee, Jeffrey (SPAC/PSPC)" userId="e10f0e9c-c03f-4fde-9113-11216b420c44" providerId="ADAL" clId="{0BEA5CCD-CDB7-477E-8756-157B9A0B9D9F}" dt="2024-07-31T17:35:12.299" v="4587" actId="14100"/>
          <ac:picMkLst>
            <pc:docMk/>
            <pc:sldMk cId="3612331858" sldId="5019"/>
            <ac:picMk id="12" creationId="{B0FCE7AE-72B6-CEFE-DD8D-C07C28CE4C2F}"/>
          </ac:picMkLst>
        </pc:picChg>
        <pc:picChg chg="add mod modCrop">
          <ac:chgData name="Elgee, Jeffrey (SPAC/PSPC)" userId="e10f0e9c-c03f-4fde-9113-11216b420c44" providerId="ADAL" clId="{0BEA5CCD-CDB7-477E-8756-157B9A0B9D9F}" dt="2024-07-31T17:35:12.299" v="4587" actId="14100"/>
          <ac:picMkLst>
            <pc:docMk/>
            <pc:sldMk cId="3612331858" sldId="5019"/>
            <ac:picMk id="14" creationId="{F079DD7F-D555-9B47-8D27-23BB97094725}"/>
          </ac:picMkLst>
        </pc:picChg>
        <pc:picChg chg="add mod">
          <ac:chgData name="Elgee, Jeffrey (SPAC/PSPC)" userId="e10f0e9c-c03f-4fde-9113-11216b420c44" providerId="ADAL" clId="{0BEA5CCD-CDB7-477E-8756-157B9A0B9D9F}" dt="2024-07-31T17:50:44.731" v="4659"/>
          <ac:picMkLst>
            <pc:docMk/>
            <pc:sldMk cId="3612331858" sldId="5019"/>
            <ac:picMk id="19" creationId="{9E1A70AF-5D8C-1C8A-852B-537BBDCFE6A5}"/>
          </ac:picMkLst>
        </pc:picChg>
      </pc:sldChg>
      <pc:sldMasterChg chg="delSp mod">
        <pc:chgData name="Elgee, Jeffrey (SPAC/PSPC)" userId="e10f0e9c-c03f-4fde-9113-11216b420c44" providerId="ADAL" clId="{0BEA5CCD-CDB7-477E-8756-157B9A0B9D9F}" dt="2024-07-30T13:34:41.969" v="1962" actId="478"/>
        <pc:sldMasterMkLst>
          <pc:docMk/>
          <pc:sldMasterMk cId="792885655" sldId="2147483675"/>
        </pc:sldMasterMkLst>
        <pc:picChg chg="del">
          <ac:chgData name="Elgee, Jeffrey (SPAC/PSPC)" userId="e10f0e9c-c03f-4fde-9113-11216b420c44" providerId="ADAL" clId="{0BEA5CCD-CDB7-477E-8756-157B9A0B9D9F}" dt="2024-07-30T13:34:41.969" v="1962" actId="478"/>
          <ac:picMkLst>
            <pc:docMk/>
            <pc:sldMasterMk cId="792885655" sldId="2147483675"/>
            <ac:picMk id="12" creationId="{00000000-0000-0000-0000-000000000000}"/>
          </ac:picMkLst>
        </pc:pic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0/17/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0/17/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prosci.com/blog/clarc-the-role-of-people-managers-in-change-management"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The Kubler-Ross Change Curve can help us better understand what our employees might be going through. Our reactions to a difficult change can go through a series of stages: Denial, Frustration, Depression, Experimentation, Experimentation, Decision, Integration.</a:t>
            </a:r>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8</a:t>
            </a:fld>
            <a:endParaRPr lang="en-US"/>
          </a:p>
        </p:txBody>
      </p:sp>
    </p:spTree>
    <p:extLst>
      <p:ext uri="{BB962C8B-B14F-4D97-AF65-F5344CB8AC3E}">
        <p14:creationId xmlns:p14="http://schemas.microsoft.com/office/powerpoint/2010/main" val="20458090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Keep in mind that one-on-one time will need to be spent with your employees, navigating the workplace together. </a:t>
            </a:r>
          </a:p>
        </p:txBody>
      </p:sp>
      <p:sp>
        <p:nvSpPr>
          <p:cNvPr id="4" name="Slide Number Placeholder 3"/>
          <p:cNvSpPr>
            <a:spLocks noGrp="1"/>
          </p:cNvSpPr>
          <p:nvPr>
            <p:ph type="sldNum" sz="quarter" idx="5"/>
          </p:nvPr>
        </p:nvSpPr>
        <p:spPr/>
        <p:txBody>
          <a:bodyPr/>
          <a:lstStyle/>
          <a:p>
            <a:fld id="{11F9BAFD-0AFE-FC47-B839-C833EEBF7ECA}" type="slidenum">
              <a:rPr lang="en-US" smtClean="0"/>
              <a:t>19</a:t>
            </a:fld>
            <a:endParaRPr lang="en-US"/>
          </a:p>
        </p:txBody>
      </p:sp>
    </p:spTree>
    <p:extLst>
      <p:ext uri="{BB962C8B-B14F-4D97-AF65-F5344CB8AC3E}">
        <p14:creationId xmlns:p14="http://schemas.microsoft.com/office/powerpoint/2010/main" val="41664944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In order to properly support your employees, ensure you are actively engaging with the change process. Review project communications, anticipate problems, plan for success, and attend events and information sessions where possible. </a:t>
            </a:r>
          </a:p>
        </p:txBody>
      </p:sp>
      <p:sp>
        <p:nvSpPr>
          <p:cNvPr id="4" name="Slide Number Placeholder 3"/>
          <p:cNvSpPr>
            <a:spLocks noGrp="1"/>
          </p:cNvSpPr>
          <p:nvPr>
            <p:ph type="sldNum" sz="quarter" idx="5"/>
          </p:nvPr>
        </p:nvSpPr>
        <p:spPr/>
        <p:txBody>
          <a:bodyPr/>
          <a:lstStyle/>
          <a:p>
            <a:fld id="{11F9BAFD-0AFE-FC47-B839-C833EEBF7ECA}" type="slidenum">
              <a:rPr lang="en-US" smtClean="0"/>
              <a:t>22</a:t>
            </a:fld>
            <a:endParaRPr lang="en-US" dirty="0"/>
          </a:p>
        </p:txBody>
      </p:sp>
    </p:spTree>
    <p:extLst>
      <p:ext uri="{BB962C8B-B14F-4D97-AF65-F5344CB8AC3E}">
        <p14:creationId xmlns:p14="http://schemas.microsoft.com/office/powerpoint/2010/main" val="36671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23729461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1697232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38269144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37959291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0</a:t>
            </a:fld>
            <a:endParaRPr lang="en-US"/>
          </a:p>
        </p:txBody>
      </p:sp>
    </p:spTree>
    <p:extLst>
      <p:ext uri="{BB962C8B-B14F-4D97-AF65-F5344CB8AC3E}">
        <p14:creationId xmlns:p14="http://schemas.microsoft.com/office/powerpoint/2010/main" val="2313478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ource : </a:t>
            </a:r>
            <a:r>
              <a:rPr lang="en-CA" dirty="0">
                <a:hlinkClick r:id="rId3"/>
              </a:rPr>
              <a:t>CLARC: The Role of People Managers in Change Management (prosci.com)</a:t>
            </a: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6232755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Why is communication such a vital part of your role in this change? Because employees want to hear from you. For any </a:t>
            </a:r>
            <a:r>
              <a:rPr lang="en-CA" dirty="0" err="1"/>
              <a:t>orgrazational</a:t>
            </a:r>
            <a:r>
              <a:rPr lang="en-CA" dirty="0"/>
              <a:t> changes that impact an employee personally, they want to hear about that from their manager. </a:t>
            </a:r>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12054554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notesSlide" Target="../notesSlides/notesSlide1.xml"/><Relationship Id="rId7" Type="http://schemas.openxmlformats.org/officeDocument/2006/relationships/image" Target="../media/image1.emf"/><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image" Target="../media/image5.jpg"/><Relationship Id="rId10" Type="http://schemas.openxmlformats.org/officeDocument/2006/relationships/image" Target="../media/image2.png"/><Relationship Id="rId4" Type="http://schemas.openxmlformats.org/officeDocument/2006/relationships/image" Target="../media/image4.png"/><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25.svg"/><Relationship Id="rId5" Type="http://schemas.openxmlformats.org/officeDocument/2006/relationships/image" Target="../media/image24.png"/><Relationship Id="rId10" Type="http://schemas.openxmlformats.org/officeDocument/2006/relationships/image" Target="../media/image29.svg"/><Relationship Id="rId4" Type="http://schemas.openxmlformats.org/officeDocument/2006/relationships/image" Target="../media/image23.svg"/><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33.svg"/><Relationship Id="rId7" Type="http://schemas.openxmlformats.org/officeDocument/2006/relationships/image" Target="../media/image37.svg"/><Relationship Id="rId2" Type="http://schemas.openxmlformats.org/officeDocument/2006/relationships/image" Target="../media/image32.png"/><Relationship Id="rId1" Type="http://schemas.openxmlformats.org/officeDocument/2006/relationships/slideLayout" Target="../slideLayouts/slideLayout14.xml"/><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Layout" Target="../slideLayouts/slideLayout6.xml"/><Relationship Id="rId5" Type="http://schemas.openxmlformats.org/officeDocument/2006/relationships/image" Target="../media/image42.svg"/><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46.svg"/><Relationship Id="rId5" Type="http://schemas.openxmlformats.org/officeDocument/2006/relationships/image" Target="../media/image45.png"/><Relationship Id="rId10" Type="http://schemas.openxmlformats.org/officeDocument/2006/relationships/image" Target="../media/image50.svg"/><Relationship Id="rId4" Type="http://schemas.openxmlformats.org/officeDocument/2006/relationships/image" Target="../media/image44.svg"/><Relationship Id="rId9" Type="http://schemas.openxmlformats.org/officeDocument/2006/relationships/image" Target="../media/image49.png"/></Relationships>
</file>

<file path=ppt/slides/_rels/slide1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hyperlink" Target="https://www.canada.ca/en/government/publicservice/modernizing/hybrid-work/common-hybrid-work-model.html" TargetMode="Externa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6" name="Picture 5">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889803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11883" y="2087217"/>
            <a:ext cx="4704551" cy="1587701"/>
          </a:xfrm>
        </p:spPr>
        <p:txBody>
          <a:bodyPr>
            <a:noAutofit/>
          </a:bodyPr>
          <a:lstStyle/>
          <a:p>
            <a:r>
              <a:rPr lang="en-US" sz="3200" dirty="0">
                <a:solidFill>
                  <a:schemeClr val="bg1"/>
                </a:solidFill>
              </a:rPr>
              <a:t>Managing Workplace Change</a:t>
            </a:r>
            <a:endParaRPr lang="en-US" sz="3200" dirty="0"/>
          </a:p>
        </p:txBody>
      </p:sp>
      <p:sp>
        <p:nvSpPr>
          <p:cNvPr id="3" name="Subtitle 2"/>
          <p:cNvSpPr>
            <a:spLocks noGrp="1"/>
          </p:cNvSpPr>
          <p:nvPr>
            <p:ph type="subTitle" idx="1"/>
          </p:nvPr>
        </p:nvSpPr>
        <p:spPr>
          <a:xfrm>
            <a:off x="545307" y="3657327"/>
            <a:ext cx="3150393" cy="678352"/>
          </a:xfrm>
        </p:spPr>
        <p:txBody>
          <a:bodyPr>
            <a:normAutofit/>
          </a:bodyPr>
          <a:lstStyle/>
          <a:p>
            <a:r>
              <a:rPr lang="en-US" dirty="0">
                <a:solidFill>
                  <a:schemeClr val="accent2"/>
                </a:solidFill>
              </a:rPr>
              <a:t>A guide for managing change and supporting team members</a:t>
            </a:r>
          </a:p>
        </p:txBody>
      </p:sp>
      <p:sp>
        <p:nvSpPr>
          <p:cNvPr id="7" name="Text Placeholder 6"/>
          <p:cNvSpPr>
            <a:spLocks noGrp="1"/>
          </p:cNvSpPr>
          <p:nvPr>
            <p:ph type="body" sz="quarter" idx="13"/>
          </p:nvPr>
        </p:nvSpPr>
        <p:spPr>
          <a:xfrm>
            <a:off x="511883" y="4580331"/>
            <a:ext cx="3494087" cy="526957"/>
          </a:xfrm>
        </p:spPr>
        <p:txBody>
          <a:bodyPr/>
          <a:lstStyle/>
          <a:p>
            <a:r>
              <a:rPr lang="en-US" sz="1100" dirty="0">
                <a:solidFill>
                  <a:schemeClr val="bg1"/>
                </a:solidFill>
              </a:rPr>
              <a:t>Date : February 2023</a:t>
            </a:r>
            <a:endParaRPr lang="en-CA" sz="1100" dirty="0">
              <a:solidFill>
                <a:schemeClr val="bg1"/>
              </a:solidFill>
            </a:endParaRPr>
          </a:p>
        </p:txBody>
      </p:sp>
      <p:sp>
        <p:nvSpPr>
          <p:cNvPr id="9" name="Rectangle 8">
            <a:extLs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pic>
        <p:nvPicPr>
          <p:cNvPr id="14" name="Picture 13">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5CFF1F66-C9F8-5499-40CC-51C8B8764C38}"/>
              </a:ext>
            </a:extLst>
          </p:cNvPr>
          <p:cNvSpPr>
            <a:spLocks noGrp="1"/>
          </p:cNvSpPr>
          <p:nvPr>
            <p:ph type="title"/>
          </p:nvPr>
        </p:nvSpPr>
        <p:spPr>
          <a:xfrm>
            <a:off x="508760" y="557949"/>
            <a:ext cx="11006344" cy="835027"/>
          </a:xfrm>
        </p:spPr>
        <p:txBody>
          <a:bodyPr/>
          <a:lstStyle/>
          <a:p>
            <a:r>
              <a:rPr lang="fr-CA" dirty="0"/>
              <a:t>Change management </a:t>
            </a:r>
            <a:r>
              <a:rPr lang="fr-CA" dirty="0" err="1"/>
              <a:t>Strategy</a:t>
            </a:r>
            <a:r>
              <a:rPr lang="fr-CA" dirty="0"/>
              <a:t> </a:t>
            </a:r>
            <a:r>
              <a:rPr lang="fr-CA" dirty="0" err="1"/>
              <a:t>Blueprint</a:t>
            </a:r>
            <a:endParaRPr lang="en-CA" dirty="0"/>
          </a:p>
        </p:txBody>
      </p:sp>
      <p:sp>
        <p:nvSpPr>
          <p:cNvPr id="44" name="ZoneTexte 43">
            <a:extLst>
              <a:ext uri="{FF2B5EF4-FFF2-40B4-BE49-F238E27FC236}">
                <a16:creationId xmlns:a16="http://schemas.microsoft.com/office/drawing/2014/main" id="{C7821F24-6F80-CA3D-510D-5C9620480FB6}"/>
              </a:ext>
            </a:extLst>
          </p:cNvPr>
          <p:cNvSpPr txBox="1"/>
          <p:nvPr/>
        </p:nvSpPr>
        <p:spPr>
          <a:xfrm>
            <a:off x="617838" y="1940011"/>
            <a:ext cx="5955957" cy="369332"/>
          </a:xfrm>
          <a:prstGeom prst="rect">
            <a:avLst/>
          </a:prstGeom>
          <a:noFill/>
        </p:spPr>
        <p:txBody>
          <a:bodyPr wrap="square" rtlCol="0">
            <a:spAutoFit/>
          </a:bodyPr>
          <a:lstStyle/>
          <a:p>
            <a:r>
              <a:rPr lang="fr-CA" dirty="0">
                <a:highlight>
                  <a:srgbClr val="FFFF00"/>
                </a:highlight>
              </a:rPr>
              <a:t>Insert </a:t>
            </a:r>
            <a:r>
              <a:rPr lang="fr-CA" dirty="0" err="1">
                <a:highlight>
                  <a:srgbClr val="FFFF00"/>
                </a:highlight>
              </a:rPr>
              <a:t>your</a:t>
            </a:r>
            <a:r>
              <a:rPr lang="fr-CA" dirty="0">
                <a:highlight>
                  <a:srgbClr val="FFFF00"/>
                </a:highlight>
              </a:rPr>
              <a:t> CM </a:t>
            </a:r>
            <a:r>
              <a:rPr lang="fr-CA" dirty="0" err="1">
                <a:highlight>
                  <a:srgbClr val="FFFF00"/>
                </a:highlight>
              </a:rPr>
              <a:t>Strategy</a:t>
            </a:r>
            <a:r>
              <a:rPr lang="fr-CA" dirty="0">
                <a:highlight>
                  <a:srgbClr val="FFFF00"/>
                </a:highlight>
              </a:rPr>
              <a:t> </a:t>
            </a:r>
            <a:r>
              <a:rPr lang="fr-CA" dirty="0" err="1">
                <a:highlight>
                  <a:srgbClr val="FFFF00"/>
                </a:highlight>
              </a:rPr>
              <a:t>Blueprint</a:t>
            </a:r>
            <a:endParaRPr lang="fr-CA" dirty="0">
              <a:highlight>
                <a:srgbClr val="FFFF00"/>
              </a:highlight>
            </a:endParaRPr>
          </a:p>
        </p:txBody>
      </p:sp>
    </p:spTree>
    <p:extLst>
      <p:ext uri="{BB962C8B-B14F-4D97-AF65-F5344CB8AC3E}">
        <p14:creationId xmlns:p14="http://schemas.microsoft.com/office/powerpoint/2010/main" val="3981118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91A1F92-F0AB-4EFA-40EE-A33352BD8C2E}"/>
              </a:ext>
            </a:extLst>
          </p:cNvPr>
          <p:cNvSpPr>
            <a:spLocks noGrp="1"/>
          </p:cNvSpPr>
          <p:nvPr>
            <p:ph type="title" idx="4294967295"/>
          </p:nvPr>
        </p:nvSpPr>
        <p:spPr>
          <a:xfrm>
            <a:off x="528638" y="2085975"/>
            <a:ext cx="11115675" cy="19542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fr-CA" sz="4400" b="1"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Your</a:t>
            </a:r>
            <a:r>
              <a:rPr kumimoji="0" lang="fr-CA" sz="4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kumimoji="0" lang="fr-CA" sz="4400" b="1"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manager’s</a:t>
            </a:r>
            <a:r>
              <a:rPr kumimoji="0" lang="fr-CA" sz="4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Change management toolkit</a:t>
            </a:r>
          </a:p>
        </p:txBody>
      </p:sp>
    </p:spTree>
    <p:extLst>
      <p:ext uri="{BB962C8B-B14F-4D97-AF65-F5344CB8AC3E}">
        <p14:creationId xmlns:p14="http://schemas.microsoft.com/office/powerpoint/2010/main" val="7192944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314D-74C9-43F8-A8C5-E61B4C92159E}"/>
              </a:ext>
            </a:extLst>
          </p:cNvPr>
          <p:cNvSpPr>
            <a:spLocks noGrp="1"/>
          </p:cNvSpPr>
          <p:nvPr>
            <p:ph type="title"/>
          </p:nvPr>
        </p:nvSpPr>
        <p:spPr/>
        <p:txBody>
          <a:bodyPr/>
          <a:lstStyle/>
          <a:p>
            <a:r>
              <a:rPr lang="en-US" dirty="0"/>
              <a:t>Why are managers so important during change? </a:t>
            </a:r>
            <a:endParaRPr lang="en-CA" dirty="0"/>
          </a:p>
        </p:txBody>
      </p:sp>
      <p:sp>
        <p:nvSpPr>
          <p:cNvPr id="8" name="TextBox 7">
            <a:extLst>
              <a:ext uri="{FF2B5EF4-FFF2-40B4-BE49-F238E27FC236}">
                <a16:creationId xmlns:a16="http://schemas.microsoft.com/office/drawing/2014/main" id="{500614F0-6698-45A0-B762-A6B5D891CC12}"/>
              </a:ext>
            </a:extLst>
          </p:cNvPr>
          <p:cNvSpPr txBox="1"/>
          <p:nvPr/>
        </p:nvSpPr>
        <p:spPr>
          <a:xfrm>
            <a:off x="615569" y="1790374"/>
            <a:ext cx="10792723" cy="307777"/>
          </a:xfrm>
          <a:prstGeom prst="rect">
            <a:avLst/>
          </a:prstGeom>
          <a:noFill/>
        </p:spPr>
        <p:txBody>
          <a:bodyPr wrap="square" rtlCol="0">
            <a:spAutoFit/>
          </a:bodyPr>
          <a:lstStyle/>
          <a:p>
            <a:pPr>
              <a:spcAft>
                <a:spcPts val="600"/>
              </a:spcAft>
            </a:pPr>
            <a:r>
              <a:rPr lang="en-US" sz="1400" dirty="0">
                <a:latin typeface="Arial" panose="020B0604020202020204" pitchFamily="34" charset="0"/>
                <a:cs typeface="Arial" panose="020B0604020202020204" pitchFamily="34" charset="0"/>
              </a:rPr>
              <a:t>Research indicates people managers has been named a top contributor to change management success. Here is why: </a:t>
            </a:r>
          </a:p>
        </p:txBody>
      </p:sp>
      <p:grpSp>
        <p:nvGrpSpPr>
          <p:cNvPr id="41" name="Group 40" descr="4 colored bubbles. #1 includes the words ''Communicate clearly and often'' with a megaphone icon, #2 includes the words ''Build solid relationships and team dynamics'' with an icon of 5 hands coming together, #3 includes the words ''Mentor, coach and engage employees'' as well as an icon of 3 people standing side by side, and #4 includes the words ''Encourage exploration and performance'' with an icon of a magnifying glass.">
            <a:extLst>
              <a:ext uri="{FF2B5EF4-FFF2-40B4-BE49-F238E27FC236}">
                <a16:creationId xmlns:a16="http://schemas.microsoft.com/office/drawing/2014/main" id="{0771C080-8346-4646-AF35-12941E0F9E4B}"/>
              </a:ext>
            </a:extLst>
          </p:cNvPr>
          <p:cNvGrpSpPr/>
          <p:nvPr/>
        </p:nvGrpSpPr>
        <p:grpSpPr>
          <a:xfrm>
            <a:off x="301358" y="2782458"/>
            <a:ext cx="10839780" cy="2361969"/>
            <a:chOff x="283782" y="3695700"/>
            <a:chExt cx="10839780" cy="2361969"/>
          </a:xfrm>
        </p:grpSpPr>
        <p:grpSp>
          <p:nvGrpSpPr>
            <p:cNvPr id="18" name="Group 17">
              <a:extLst>
                <a:ext uri="{FF2B5EF4-FFF2-40B4-BE49-F238E27FC236}">
                  <a16:creationId xmlns:a16="http://schemas.microsoft.com/office/drawing/2014/main" id="{E8956A68-AF4B-4F57-852D-F7240369E656}"/>
                </a:ext>
              </a:extLst>
            </p:cNvPr>
            <p:cNvGrpSpPr/>
            <p:nvPr/>
          </p:nvGrpSpPr>
          <p:grpSpPr>
            <a:xfrm>
              <a:off x="3118502" y="3695700"/>
              <a:ext cx="2786522" cy="2318053"/>
              <a:chOff x="3118502" y="3695700"/>
              <a:chExt cx="2786522" cy="2318053"/>
            </a:xfrm>
          </p:grpSpPr>
          <p:sp>
            <p:nvSpPr>
              <p:cNvPr id="9" name="Oval 8">
                <a:extLst>
                  <a:ext uri="{FF2B5EF4-FFF2-40B4-BE49-F238E27FC236}">
                    <a16:creationId xmlns:a16="http://schemas.microsoft.com/office/drawing/2014/main" id="{913C1812-715A-46AA-93A3-DFBB8BFBFB77}"/>
                  </a:ext>
                </a:extLst>
              </p:cNvPr>
              <p:cNvSpPr/>
              <p:nvPr/>
            </p:nvSpPr>
            <p:spPr>
              <a:xfrm>
                <a:off x="3402080" y="3784600"/>
                <a:ext cx="2108200" cy="210820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lumMod val="95000"/>
                        <a:lumOff val="5000"/>
                      </a:schemeClr>
                    </a:solidFill>
                    <a:latin typeface="Arial" panose="020B0604020202020204" pitchFamily="34" charset="0"/>
                    <a:cs typeface="Arial" panose="020B0604020202020204" pitchFamily="34" charset="0"/>
                  </a:rPr>
                  <a:t>You are the preferred sender</a:t>
                </a:r>
                <a:endParaRPr lang="en-CA" sz="1400" dirty="0">
                  <a:solidFill>
                    <a:schemeClr val="tx1">
                      <a:lumMod val="95000"/>
                      <a:lumOff val="5000"/>
                    </a:schemeClr>
                  </a:solidFill>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567B0D0C-3B07-4F68-8971-DF0F5502BC44}"/>
                  </a:ext>
                </a:extLst>
              </p:cNvPr>
              <p:cNvSpPr/>
              <p:nvPr/>
            </p:nvSpPr>
            <p:spPr>
              <a:xfrm>
                <a:off x="3118502" y="3695700"/>
                <a:ext cx="826569" cy="81406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lumMod val="95000"/>
                      </a:schemeClr>
                    </a:solidFill>
                  </a:rPr>
                  <a:t>2</a:t>
                </a:r>
                <a:endParaRPr lang="en-CA" sz="6600" dirty="0">
                  <a:solidFill>
                    <a:schemeClr val="bg1">
                      <a:lumMod val="95000"/>
                    </a:schemeClr>
                  </a:solidFill>
                </a:endParaRPr>
              </a:p>
            </p:txBody>
          </p:sp>
          <p:sp>
            <p:nvSpPr>
              <p:cNvPr id="17" name="Oval 16">
                <a:extLst>
                  <a:ext uri="{FF2B5EF4-FFF2-40B4-BE49-F238E27FC236}">
                    <a16:creationId xmlns:a16="http://schemas.microsoft.com/office/drawing/2014/main" id="{53E7AE0D-9FBF-45ED-BBC3-61684C08E034}"/>
                  </a:ext>
                </a:extLst>
              </p:cNvPr>
              <p:cNvSpPr/>
              <p:nvPr/>
            </p:nvSpPr>
            <p:spPr>
              <a:xfrm>
                <a:off x="5078455" y="5187184"/>
                <a:ext cx="826569" cy="8265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nvGrpSpPr>
            <p:cNvPr id="19" name="Group 18">
              <a:extLst>
                <a:ext uri="{FF2B5EF4-FFF2-40B4-BE49-F238E27FC236}">
                  <a16:creationId xmlns:a16="http://schemas.microsoft.com/office/drawing/2014/main" id="{1FA3DB04-AE97-49FD-84C6-7339B4FFD401}"/>
                </a:ext>
              </a:extLst>
            </p:cNvPr>
            <p:cNvGrpSpPr/>
            <p:nvPr/>
          </p:nvGrpSpPr>
          <p:grpSpPr>
            <a:xfrm>
              <a:off x="283782" y="3695700"/>
              <a:ext cx="2472653" cy="2260079"/>
              <a:chOff x="-2205338" y="3695700"/>
              <a:chExt cx="2472653" cy="2260079"/>
            </a:xfrm>
          </p:grpSpPr>
          <p:sp>
            <p:nvSpPr>
              <p:cNvPr id="20" name="Oval 19">
                <a:extLst>
                  <a:ext uri="{FF2B5EF4-FFF2-40B4-BE49-F238E27FC236}">
                    <a16:creationId xmlns:a16="http://schemas.microsoft.com/office/drawing/2014/main" id="{9031742B-BEBA-4AE8-A8AF-F56808DB1541}"/>
                  </a:ext>
                </a:extLst>
              </p:cNvPr>
              <p:cNvSpPr/>
              <p:nvPr/>
            </p:nvSpPr>
            <p:spPr>
              <a:xfrm>
                <a:off x="-1992880" y="3784600"/>
                <a:ext cx="2108200" cy="2108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Employees Trust you</a:t>
                </a:r>
                <a:endParaRPr lang="en-CA" sz="1400" dirty="0">
                  <a:solidFill>
                    <a:schemeClr val="tx1"/>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AEA1D146-B1D0-4DA9-9ACE-52128B2D796E}"/>
                  </a:ext>
                </a:extLst>
              </p:cNvPr>
              <p:cNvSpPr/>
              <p:nvPr/>
            </p:nvSpPr>
            <p:spPr>
              <a:xfrm>
                <a:off x="-2205338" y="3695700"/>
                <a:ext cx="826569" cy="81406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solidFill>
                  </a:rPr>
                  <a:t>1</a:t>
                </a:r>
                <a:endParaRPr lang="en-CA" sz="6600" dirty="0">
                  <a:solidFill>
                    <a:schemeClr val="bg1"/>
                  </a:solidFill>
                </a:endParaRPr>
              </a:p>
            </p:txBody>
          </p:sp>
          <p:sp>
            <p:nvSpPr>
              <p:cNvPr id="22" name="Oval 21">
                <a:extLst>
                  <a:ext uri="{FF2B5EF4-FFF2-40B4-BE49-F238E27FC236}">
                    <a16:creationId xmlns:a16="http://schemas.microsoft.com/office/drawing/2014/main" id="{985303B0-4D73-477A-A149-15587C809E1B}"/>
                  </a:ext>
                </a:extLst>
              </p:cNvPr>
              <p:cNvSpPr/>
              <p:nvPr/>
            </p:nvSpPr>
            <p:spPr>
              <a:xfrm>
                <a:off x="-559254" y="5129210"/>
                <a:ext cx="826569" cy="826569"/>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3" name="Group 22">
              <a:extLst>
                <a:ext uri="{FF2B5EF4-FFF2-40B4-BE49-F238E27FC236}">
                  <a16:creationId xmlns:a16="http://schemas.microsoft.com/office/drawing/2014/main" id="{A23AF3B0-FCAD-4891-883D-A976B2CED5FC}"/>
                </a:ext>
              </a:extLst>
            </p:cNvPr>
            <p:cNvGrpSpPr/>
            <p:nvPr/>
          </p:nvGrpSpPr>
          <p:grpSpPr>
            <a:xfrm>
              <a:off x="6013942" y="3695700"/>
              <a:ext cx="2566469" cy="2274138"/>
              <a:chOff x="1035702" y="3695700"/>
              <a:chExt cx="2566469" cy="2274138"/>
            </a:xfrm>
          </p:grpSpPr>
          <p:sp>
            <p:nvSpPr>
              <p:cNvPr id="24" name="Oval 23">
                <a:extLst>
                  <a:ext uri="{FF2B5EF4-FFF2-40B4-BE49-F238E27FC236}">
                    <a16:creationId xmlns:a16="http://schemas.microsoft.com/office/drawing/2014/main" id="{D7ABFA5A-2948-41EC-AF91-AB2ACFB1383E}"/>
                  </a:ext>
                </a:extLst>
              </p:cNvPr>
              <p:cNvSpPr/>
              <p:nvPr/>
            </p:nvSpPr>
            <p:spPr>
              <a:xfrm>
                <a:off x="1319280" y="3784600"/>
                <a:ext cx="2108200" cy="2108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anose="020B0604020202020204" pitchFamily="34" charset="0"/>
                    <a:cs typeface="Arial" panose="020B0604020202020204" pitchFamily="34" charset="0"/>
                  </a:rPr>
                  <a:t>You build support</a:t>
                </a:r>
                <a:endParaRPr lang="en-CA" sz="1400" dirty="0">
                  <a:solidFill>
                    <a:schemeClr val="bg1"/>
                  </a:solidFill>
                  <a:latin typeface="Arial" panose="020B0604020202020204" pitchFamily="34" charset="0"/>
                  <a:cs typeface="Arial" panose="020B0604020202020204" pitchFamily="34" charset="0"/>
                </a:endParaRPr>
              </a:p>
            </p:txBody>
          </p:sp>
          <p:sp>
            <p:nvSpPr>
              <p:cNvPr id="25" name="Oval 24">
                <a:extLst>
                  <a:ext uri="{FF2B5EF4-FFF2-40B4-BE49-F238E27FC236}">
                    <a16:creationId xmlns:a16="http://schemas.microsoft.com/office/drawing/2014/main" id="{D18FB770-9587-4D7D-A6C4-0226F7653F76}"/>
                  </a:ext>
                </a:extLst>
              </p:cNvPr>
              <p:cNvSpPr/>
              <p:nvPr/>
            </p:nvSpPr>
            <p:spPr>
              <a:xfrm>
                <a:off x="1035702" y="3695700"/>
                <a:ext cx="826569" cy="81406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solidFill>
                  </a:rPr>
                  <a:t>3</a:t>
                </a:r>
                <a:endParaRPr lang="en-CA" sz="6600" dirty="0">
                  <a:solidFill>
                    <a:schemeClr val="bg1"/>
                  </a:solidFill>
                </a:endParaRPr>
              </a:p>
            </p:txBody>
          </p:sp>
          <p:sp>
            <p:nvSpPr>
              <p:cNvPr id="26" name="Oval 25">
                <a:extLst>
                  <a:ext uri="{FF2B5EF4-FFF2-40B4-BE49-F238E27FC236}">
                    <a16:creationId xmlns:a16="http://schemas.microsoft.com/office/drawing/2014/main" id="{D3D30C84-6D5A-4DA1-991B-74F42027021B}"/>
                  </a:ext>
                </a:extLst>
              </p:cNvPr>
              <p:cNvSpPr/>
              <p:nvPr/>
            </p:nvSpPr>
            <p:spPr>
              <a:xfrm>
                <a:off x="2775602" y="5143269"/>
                <a:ext cx="826569" cy="826569"/>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pic>
          <p:nvPicPr>
            <p:cNvPr id="33" name="Graphic 32" descr="Megaphone">
              <a:extLst>
                <a:ext uri="{FF2B5EF4-FFF2-40B4-BE49-F238E27FC236}">
                  <a16:creationId xmlns:a16="http://schemas.microsoft.com/office/drawing/2014/main" id="{CA77D4E7-3FEA-4437-A84B-9ADC66A7392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44839" y="5085887"/>
              <a:ext cx="874964" cy="874964"/>
            </a:xfrm>
            <a:prstGeom prst="rect">
              <a:avLst/>
            </a:prstGeom>
          </p:spPr>
        </p:pic>
        <p:pic>
          <p:nvPicPr>
            <p:cNvPr id="35" name="Graphic 34" descr="Cheers">
              <a:extLst>
                <a:ext uri="{FF2B5EF4-FFF2-40B4-BE49-F238E27FC236}">
                  <a16:creationId xmlns:a16="http://schemas.microsoft.com/office/drawing/2014/main" id="{2BD0C0AB-C94D-4E89-909C-80B0B454BF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27491" y="5176538"/>
              <a:ext cx="831320" cy="831320"/>
            </a:xfrm>
            <a:prstGeom prst="rect">
              <a:avLst/>
            </a:prstGeom>
          </p:spPr>
        </p:pic>
        <p:pic>
          <p:nvPicPr>
            <p:cNvPr id="37" name="Graphic 36" descr="Group of women">
              <a:extLst>
                <a:ext uri="{FF2B5EF4-FFF2-40B4-BE49-F238E27FC236}">
                  <a16:creationId xmlns:a16="http://schemas.microsoft.com/office/drawing/2014/main" id="{9BB413A4-589A-4649-9D01-51843B8ADDA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19345" y="5143269"/>
              <a:ext cx="914400" cy="914400"/>
            </a:xfrm>
            <a:prstGeom prst="rect">
              <a:avLst/>
            </a:prstGeom>
          </p:spPr>
        </p:pic>
        <p:pic>
          <p:nvPicPr>
            <p:cNvPr id="39" name="Graphic 38" descr="Magnifying glass">
              <a:extLst>
                <a:ext uri="{FF2B5EF4-FFF2-40B4-BE49-F238E27FC236}">
                  <a16:creationId xmlns:a16="http://schemas.microsoft.com/office/drawing/2014/main" id="{F7B150AA-C9CD-4B4C-8CE6-4A22F43C290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09162" y="5134998"/>
              <a:ext cx="914400" cy="914400"/>
            </a:xfrm>
            <a:prstGeom prst="rect">
              <a:avLst/>
            </a:prstGeom>
          </p:spPr>
        </p:pic>
      </p:grpSp>
      <p:sp>
        <p:nvSpPr>
          <p:cNvPr id="3" name="Oval 27">
            <a:extLst>
              <a:ext uri="{FF2B5EF4-FFF2-40B4-BE49-F238E27FC236}">
                <a16:creationId xmlns:a16="http://schemas.microsoft.com/office/drawing/2014/main" id="{01878D68-837E-5268-997E-7F6A241FE287}"/>
              </a:ext>
            </a:extLst>
          </p:cNvPr>
          <p:cNvSpPr/>
          <p:nvPr/>
        </p:nvSpPr>
        <p:spPr>
          <a:xfrm>
            <a:off x="8885495" y="2921169"/>
            <a:ext cx="2108200" cy="2108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You are close to where the change happens</a:t>
            </a:r>
            <a:endParaRPr lang="en-CA" sz="1400" dirty="0">
              <a:solidFill>
                <a:schemeClr val="tx1"/>
              </a:solidFill>
              <a:latin typeface="Arial" panose="020B0604020202020204" pitchFamily="34" charset="0"/>
              <a:cs typeface="Arial" panose="020B0604020202020204" pitchFamily="34" charset="0"/>
            </a:endParaRPr>
          </a:p>
        </p:txBody>
      </p:sp>
      <p:sp>
        <p:nvSpPr>
          <p:cNvPr id="4" name="Oval 28">
            <a:extLst>
              <a:ext uri="{FF2B5EF4-FFF2-40B4-BE49-F238E27FC236}">
                <a16:creationId xmlns:a16="http://schemas.microsoft.com/office/drawing/2014/main" id="{25BA348F-C9F0-AA22-1FE6-5AC453656143}"/>
              </a:ext>
            </a:extLst>
          </p:cNvPr>
          <p:cNvSpPr/>
          <p:nvPr/>
        </p:nvSpPr>
        <p:spPr>
          <a:xfrm>
            <a:off x="8601917" y="2832269"/>
            <a:ext cx="826569" cy="81406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solidFill>
              </a:rPr>
              <a:t>4</a:t>
            </a:r>
            <a:endParaRPr lang="en-CA" sz="6600" dirty="0">
              <a:solidFill>
                <a:schemeClr val="bg1"/>
              </a:solidFill>
            </a:endParaRPr>
          </a:p>
        </p:txBody>
      </p:sp>
      <p:sp>
        <p:nvSpPr>
          <p:cNvPr id="5" name="Oval 29">
            <a:extLst>
              <a:ext uri="{FF2B5EF4-FFF2-40B4-BE49-F238E27FC236}">
                <a16:creationId xmlns:a16="http://schemas.microsoft.com/office/drawing/2014/main" id="{CB95E960-CE78-98CE-73A3-30C6CE832DA5}"/>
              </a:ext>
              <a:ext uri="{C183D7F6-B498-43B3-948B-1728B52AA6E4}">
                <adec:decorative xmlns:adec="http://schemas.microsoft.com/office/drawing/2017/decorative" val="1"/>
              </a:ext>
            </a:extLst>
          </p:cNvPr>
          <p:cNvSpPr/>
          <p:nvPr/>
        </p:nvSpPr>
        <p:spPr>
          <a:xfrm>
            <a:off x="10341817" y="4279838"/>
            <a:ext cx="826569" cy="826569"/>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6" name="Graphic 38" descr="Magnifying glass">
            <a:extLst>
              <a:ext uri="{FF2B5EF4-FFF2-40B4-BE49-F238E27FC236}">
                <a16:creationId xmlns:a16="http://schemas.microsoft.com/office/drawing/2014/main" id="{E262B0F6-EACC-56E9-5DE1-0437D10F924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360655" y="4313107"/>
            <a:ext cx="914400" cy="914400"/>
          </a:xfrm>
          <a:prstGeom prst="rect">
            <a:avLst/>
          </a:prstGeom>
        </p:spPr>
      </p:pic>
    </p:spTree>
    <p:extLst>
      <p:ext uri="{BB962C8B-B14F-4D97-AF65-F5344CB8AC3E}">
        <p14:creationId xmlns:p14="http://schemas.microsoft.com/office/powerpoint/2010/main" val="42595974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A263AE-E6EA-4109-9421-FEA20DDC8F2B}"/>
              </a:ext>
            </a:extLst>
          </p:cNvPr>
          <p:cNvSpPr>
            <a:spLocks noGrp="1"/>
          </p:cNvSpPr>
          <p:nvPr>
            <p:ph type="title"/>
          </p:nvPr>
        </p:nvSpPr>
        <p:spPr/>
        <p:txBody>
          <a:bodyPr/>
          <a:lstStyle/>
          <a:p>
            <a:r>
              <a:rPr lang="en-US" dirty="0"/>
              <a:t>Your role</a:t>
            </a:r>
            <a:endParaRPr lang="en-CA" dirty="0"/>
          </a:p>
        </p:txBody>
      </p:sp>
      <p:sp>
        <p:nvSpPr>
          <p:cNvPr id="3" name="TextBox 7">
            <a:extLst>
              <a:ext uri="{FF2B5EF4-FFF2-40B4-BE49-F238E27FC236}">
                <a16:creationId xmlns:a16="http://schemas.microsoft.com/office/drawing/2014/main" id="{B9769580-64A6-9348-AE70-801B106B6F40}"/>
              </a:ext>
            </a:extLst>
          </p:cNvPr>
          <p:cNvSpPr txBox="1"/>
          <p:nvPr/>
        </p:nvSpPr>
        <p:spPr>
          <a:xfrm>
            <a:off x="508759" y="1393669"/>
            <a:ext cx="10792723" cy="1538883"/>
          </a:xfrm>
          <a:prstGeom prst="rect">
            <a:avLst/>
          </a:prstGeom>
          <a:noFill/>
        </p:spPr>
        <p:txBody>
          <a:bodyPr wrap="square" rtlCol="0">
            <a:spAutoFit/>
          </a:bodyPr>
          <a:lstStyle/>
          <a:p>
            <a:pPr>
              <a:spcAft>
                <a:spcPts val="600"/>
              </a:spcAft>
            </a:pPr>
            <a:r>
              <a:rPr lang="en-US" sz="1400" dirty="0">
                <a:latin typeface="Arial" panose="020B0604020202020204" pitchFamily="34" charset="0"/>
                <a:cs typeface="Arial" panose="020B0604020202020204" pitchFamily="34" charset="0"/>
              </a:rPr>
              <a:t>People Managers play a critical role in leading and supporting team members through change. Helping employees cope with change means managing fears and anxieties—supporting through uncertainty. </a:t>
            </a:r>
          </a:p>
          <a:p>
            <a:pPr>
              <a:spcAft>
                <a:spcPts val="600"/>
              </a:spcAft>
            </a:pPr>
            <a:r>
              <a:rPr lang="en-CA" sz="1400" dirty="0">
                <a:latin typeface="Arial" panose="020B0604020202020204" pitchFamily="34" charset="0"/>
                <a:cs typeface="Arial" panose="020B0604020202020204" pitchFamily="34" charset="0"/>
              </a:rPr>
              <a:t>During the Workplace Optimization Project, your role as manager extends beyond your current daily responsibilities as you begin to communicate, mentor, coach and engage employees through our change journey into a successful adoption and sustainment of our new workplace. </a:t>
            </a:r>
          </a:p>
          <a:p>
            <a:r>
              <a:rPr lang="en-CA" sz="1400" dirty="0">
                <a:latin typeface="Arial" panose="020B0604020202020204" pitchFamily="34" charset="0"/>
                <a:cs typeface="Arial" panose="020B0604020202020204" pitchFamily="34" charset="0"/>
              </a:rPr>
              <a:t>As a people manager, you will have 5 </a:t>
            </a:r>
            <a:r>
              <a:rPr lang="en-US" sz="1400" dirty="0">
                <a:latin typeface="Arial" panose="020B0604020202020204" pitchFamily="34" charset="0"/>
                <a:cs typeface="Arial" panose="020B0604020202020204" pitchFamily="34" charset="0"/>
              </a:rPr>
              <a:t>have five unique and important roles to play:</a:t>
            </a:r>
            <a:r>
              <a:rPr lang="en-CA" sz="1400" dirty="0">
                <a:latin typeface="Arial" panose="020B0604020202020204" pitchFamily="34" charset="0"/>
                <a:cs typeface="Arial" panose="020B0604020202020204" pitchFamily="34" charset="0"/>
              </a:rPr>
              <a:t> </a:t>
            </a:r>
            <a:endParaRPr lang="en-US" sz="1400"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28F99DF7-835D-4673-B748-CF5A7DC68457}"/>
              </a:ext>
            </a:extLst>
          </p:cNvPr>
          <p:cNvSpPr/>
          <p:nvPr/>
        </p:nvSpPr>
        <p:spPr>
          <a:xfrm>
            <a:off x="773179" y="3450378"/>
            <a:ext cx="2004060" cy="304800"/>
          </a:xfrm>
          <a:prstGeom prst="rect">
            <a:avLst/>
          </a:prstGeom>
          <a:gradFill>
            <a:gsLst>
              <a:gs pos="51000">
                <a:schemeClr val="accent2"/>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Communicator</a:t>
            </a:r>
            <a:endParaRPr lang="en-CA" sz="16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F7F1E87D-31A2-49AF-8E2B-9FDEFCD9C261}"/>
              </a:ext>
            </a:extLst>
          </p:cNvPr>
          <p:cNvSpPr txBox="1"/>
          <p:nvPr/>
        </p:nvSpPr>
        <p:spPr>
          <a:xfrm>
            <a:off x="773179" y="3756752"/>
            <a:ext cx="3196478" cy="73866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Share personalized messages with your team members about what is changing and why.</a:t>
            </a:r>
            <a:endParaRPr lang="en-CA" sz="1400" dirty="0">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07FC31D2-801A-49F5-9401-84E5F79C47BE}"/>
              </a:ext>
            </a:extLst>
          </p:cNvPr>
          <p:cNvSpPr/>
          <p:nvPr/>
        </p:nvSpPr>
        <p:spPr>
          <a:xfrm>
            <a:off x="773179" y="4965700"/>
            <a:ext cx="2004060" cy="304800"/>
          </a:xfrm>
          <a:prstGeom prst="rect">
            <a:avLst/>
          </a:prstGeom>
          <a:gradFill>
            <a:gsLst>
              <a:gs pos="51000">
                <a:schemeClr val="accent4"/>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Liaison</a:t>
            </a:r>
            <a:endParaRPr lang="en-CA" sz="16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D8FD75B-32C7-4C68-9C0F-F90DBCC7D84C}"/>
              </a:ext>
            </a:extLst>
          </p:cNvPr>
          <p:cNvSpPr txBox="1"/>
          <p:nvPr/>
        </p:nvSpPr>
        <p:spPr>
          <a:xfrm>
            <a:off x="773179" y="5270500"/>
            <a:ext cx="3196478" cy="73866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Provide feedback to the project team and raise any valid concerns from team members.</a:t>
            </a:r>
            <a:endParaRPr lang="en-CA" sz="14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5F36255B-0B0F-4718-884A-37815B058BB1}"/>
              </a:ext>
            </a:extLst>
          </p:cNvPr>
          <p:cNvSpPr/>
          <p:nvPr/>
        </p:nvSpPr>
        <p:spPr>
          <a:xfrm>
            <a:off x="4452553" y="3450378"/>
            <a:ext cx="2085956" cy="304800"/>
          </a:xfrm>
          <a:prstGeom prst="rect">
            <a:avLst/>
          </a:prstGeom>
          <a:gradFill>
            <a:gsLst>
              <a:gs pos="51000">
                <a:schemeClr val="accent3"/>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Advocate</a:t>
            </a:r>
            <a:endParaRPr lang="en-CA" sz="16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AE25B030-740F-4A0C-8352-EB17DCCAE28A}"/>
              </a:ext>
            </a:extLst>
          </p:cNvPr>
          <p:cNvSpPr txBox="1"/>
          <p:nvPr/>
        </p:nvSpPr>
        <p:spPr>
          <a:xfrm>
            <a:off x="4452553" y="3755178"/>
            <a:ext cx="3327103"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Demonstrate your support for the change to help others get on board.</a:t>
            </a:r>
            <a:endParaRPr lang="en-CA" sz="140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36AADF42-D6C7-44D7-96A9-D874862F6B57}"/>
              </a:ext>
            </a:extLst>
          </p:cNvPr>
          <p:cNvSpPr/>
          <p:nvPr/>
        </p:nvSpPr>
        <p:spPr>
          <a:xfrm>
            <a:off x="4452553" y="4965700"/>
            <a:ext cx="2472578" cy="304800"/>
          </a:xfrm>
          <a:prstGeom prst="rect">
            <a:avLst/>
          </a:prstGeom>
          <a:gradFill>
            <a:gsLst>
              <a:gs pos="71000">
                <a:schemeClr val="accent1"/>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Resistance Manager</a:t>
            </a:r>
            <a:endParaRPr lang="en-CA" sz="1600"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3EBF9B25-9E49-4624-8C82-B3025D1DAE0B}"/>
              </a:ext>
            </a:extLst>
          </p:cNvPr>
          <p:cNvSpPr txBox="1"/>
          <p:nvPr/>
        </p:nvSpPr>
        <p:spPr>
          <a:xfrm>
            <a:off x="4452553" y="5270500"/>
            <a:ext cx="3196478"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Note barriers to adoption and manage resistance and </a:t>
            </a:r>
            <a:r>
              <a:rPr lang="en-CA" sz="1400" dirty="0">
                <a:latin typeface="Arial" panose="020B0604020202020204" pitchFamily="34" charset="0"/>
                <a:cs typeface="Arial" panose="020B0604020202020204" pitchFamily="34" charset="0"/>
              </a:rPr>
              <a:t>rumours</a:t>
            </a:r>
            <a:r>
              <a:rPr lang="en-US" sz="1400" dirty="0">
                <a:latin typeface="Arial" panose="020B0604020202020204" pitchFamily="34" charset="0"/>
                <a:cs typeface="Arial" panose="020B0604020202020204" pitchFamily="34" charset="0"/>
              </a:rPr>
              <a:t> as they occur.</a:t>
            </a:r>
            <a:endParaRPr lang="en-CA" sz="14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B456FA8F-EA34-4812-B5F8-FC4F12F4AAC1}"/>
              </a:ext>
            </a:extLst>
          </p:cNvPr>
          <p:cNvSpPr/>
          <p:nvPr/>
        </p:nvSpPr>
        <p:spPr>
          <a:xfrm>
            <a:off x="8400439" y="3450378"/>
            <a:ext cx="2085956" cy="304800"/>
          </a:xfrm>
          <a:prstGeom prst="rect">
            <a:avLst/>
          </a:prstGeom>
          <a:gradFill>
            <a:gsLst>
              <a:gs pos="51000">
                <a:schemeClr val="accent5"/>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Coach</a:t>
            </a:r>
            <a:endParaRPr lang="en-CA" sz="16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6E268FE2-408D-4D74-9643-3004BDDC2A36}"/>
              </a:ext>
            </a:extLst>
          </p:cNvPr>
          <p:cNvSpPr txBox="1"/>
          <p:nvPr/>
        </p:nvSpPr>
        <p:spPr>
          <a:xfrm>
            <a:off x="8400439" y="3761085"/>
            <a:ext cx="3327103" cy="738664"/>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Teach employees about the change process and any tools and trainings related to change.</a:t>
            </a:r>
            <a:endParaRPr lang="en-CA" sz="1400"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EF8F501D-2ACA-4E02-BB73-676313AF0E75}"/>
              </a:ext>
            </a:extLst>
          </p:cNvPr>
          <p:cNvSpPr txBox="1"/>
          <p:nvPr/>
        </p:nvSpPr>
        <p:spPr>
          <a:xfrm>
            <a:off x="8430555" y="4937815"/>
            <a:ext cx="3166361" cy="1277273"/>
          </a:xfrm>
          <a:prstGeom prst="rect">
            <a:avLst/>
          </a:prstGeom>
          <a:solidFill>
            <a:schemeClr val="accent6">
              <a:lumMod val="60000"/>
              <a:lumOff val="40000"/>
            </a:schemeClr>
          </a:solidFill>
        </p:spPr>
        <p:txBody>
          <a:bodyPr wrap="square" rtlCol="0">
            <a:spAutoFit/>
          </a:bodyPr>
          <a:lstStyle/>
          <a:p>
            <a:pPr>
              <a:spcAft>
                <a:spcPts val="600"/>
              </a:spcAft>
            </a:pPr>
            <a:r>
              <a:rPr lang="en-US" sz="1200" dirty="0">
                <a:latin typeface="Arial" panose="020B0604020202020204" pitchFamily="34" charset="0"/>
                <a:cs typeface="Arial" panose="020B0604020202020204" pitchFamily="34" charset="0"/>
              </a:rPr>
              <a:t>To stay informed on the change as a people manager, ensure you read all project communications and resources, as well as attend all information sessions. </a:t>
            </a:r>
          </a:p>
          <a:p>
            <a:r>
              <a:rPr lang="en-US" sz="1200" dirty="0">
                <a:latin typeface="Arial" panose="020B0604020202020204" pitchFamily="34" charset="0"/>
                <a:cs typeface="Arial" panose="020B0604020202020204" pitchFamily="34" charset="0"/>
              </a:rPr>
              <a:t>The more information you have, the more you will be able to share.</a:t>
            </a:r>
            <a:endParaRPr lang="en-CA" sz="1200" dirty="0">
              <a:latin typeface="Arial" panose="020B0604020202020204" pitchFamily="34" charset="0"/>
              <a:cs typeface="Arial" panose="020B0604020202020204" pitchFamily="34" charset="0"/>
            </a:endParaRPr>
          </a:p>
        </p:txBody>
      </p:sp>
      <p:pic>
        <p:nvPicPr>
          <p:cNvPr id="20" name="Graphic 19">
            <a:extLst>
              <a:ext uri="{FF2B5EF4-FFF2-40B4-BE49-F238E27FC236}">
                <a16:creationId xmlns:a16="http://schemas.microsoft.com/office/drawing/2014/main" id="{7FCC107B-1B11-4B36-A22B-1597621685E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52300" y="4435473"/>
            <a:ext cx="835027" cy="835027"/>
          </a:xfrm>
          <a:prstGeom prst="rect">
            <a:avLst/>
          </a:prstGeom>
        </p:spPr>
      </p:pic>
    </p:spTree>
    <p:extLst>
      <p:ext uri="{BB962C8B-B14F-4D97-AF65-F5344CB8AC3E}">
        <p14:creationId xmlns:p14="http://schemas.microsoft.com/office/powerpoint/2010/main" val="1707177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1D901-0DB1-131C-ECE7-292E7AEBABBB}"/>
              </a:ext>
            </a:extLst>
          </p:cNvPr>
          <p:cNvSpPr>
            <a:spLocks noGrp="1"/>
          </p:cNvSpPr>
          <p:nvPr>
            <p:ph type="title"/>
          </p:nvPr>
        </p:nvSpPr>
        <p:spPr/>
        <p:txBody>
          <a:bodyPr/>
          <a:lstStyle/>
          <a:p>
            <a:r>
              <a:rPr lang="en-CA" dirty="0"/>
              <a:t>The benefits of communicating during a change</a:t>
            </a:r>
          </a:p>
        </p:txBody>
      </p:sp>
      <p:sp>
        <p:nvSpPr>
          <p:cNvPr id="15" name="TextBox 14">
            <a:extLst>
              <a:ext uri="{FF2B5EF4-FFF2-40B4-BE49-F238E27FC236}">
                <a16:creationId xmlns:a16="http://schemas.microsoft.com/office/drawing/2014/main" id="{AD853EB0-D48C-ECE2-9A46-11728F9C378A}"/>
              </a:ext>
            </a:extLst>
          </p:cNvPr>
          <p:cNvSpPr txBox="1"/>
          <p:nvPr/>
        </p:nvSpPr>
        <p:spPr>
          <a:xfrm>
            <a:off x="1181207" y="4300256"/>
            <a:ext cx="2443399" cy="1446550"/>
          </a:xfrm>
          <a:prstGeom prst="rect">
            <a:avLst/>
          </a:prstGeom>
          <a:noFill/>
        </p:spPr>
        <p:txBody>
          <a:bodyPr wrap="square" rtlCol="0">
            <a:spAutoFit/>
          </a:bodyPr>
          <a:lstStyle/>
          <a:p>
            <a:r>
              <a:rPr lang="en-CA" sz="1400" b="1" dirty="0"/>
              <a:t>Reduces Uncertainty and Anxiety</a:t>
            </a:r>
          </a:p>
          <a:p>
            <a:r>
              <a:rPr lang="en-CA" sz="1400" dirty="0"/>
              <a:t>Clear communication helps reduce uncertainty and anxiety among employees</a:t>
            </a:r>
          </a:p>
          <a:p>
            <a:endParaRPr lang="en-CA" dirty="0"/>
          </a:p>
        </p:txBody>
      </p:sp>
      <p:sp>
        <p:nvSpPr>
          <p:cNvPr id="17" name="TextBox 16">
            <a:extLst>
              <a:ext uri="{FF2B5EF4-FFF2-40B4-BE49-F238E27FC236}">
                <a16:creationId xmlns:a16="http://schemas.microsoft.com/office/drawing/2014/main" id="{985AD11C-EACE-0954-BAFE-2AB525EA7F02}"/>
              </a:ext>
            </a:extLst>
          </p:cNvPr>
          <p:cNvSpPr txBox="1"/>
          <p:nvPr/>
        </p:nvSpPr>
        <p:spPr>
          <a:xfrm>
            <a:off x="4389102" y="4300256"/>
            <a:ext cx="2443399" cy="954107"/>
          </a:xfrm>
          <a:prstGeom prst="rect">
            <a:avLst/>
          </a:prstGeom>
          <a:noFill/>
        </p:spPr>
        <p:txBody>
          <a:bodyPr wrap="square" rtlCol="0">
            <a:spAutoFit/>
          </a:bodyPr>
          <a:lstStyle/>
          <a:p>
            <a:r>
              <a:rPr lang="en-CA" sz="1400" b="1" dirty="0"/>
              <a:t>Builds Trust and Transparency</a:t>
            </a:r>
          </a:p>
          <a:p>
            <a:r>
              <a:rPr lang="en-CA" sz="1400" dirty="0"/>
              <a:t>Transparent communication fosters trust and prevents rumors</a:t>
            </a:r>
            <a:endParaRPr lang="en-CA" dirty="0"/>
          </a:p>
        </p:txBody>
      </p:sp>
      <p:sp>
        <p:nvSpPr>
          <p:cNvPr id="16" name="TextBox 15">
            <a:extLst>
              <a:ext uri="{FF2B5EF4-FFF2-40B4-BE49-F238E27FC236}">
                <a16:creationId xmlns:a16="http://schemas.microsoft.com/office/drawing/2014/main" id="{FA1BB9C4-4EAF-51CE-B1C5-F7681DAF3E8D}"/>
              </a:ext>
            </a:extLst>
          </p:cNvPr>
          <p:cNvSpPr txBox="1"/>
          <p:nvPr/>
        </p:nvSpPr>
        <p:spPr>
          <a:xfrm>
            <a:off x="7523079" y="4300255"/>
            <a:ext cx="2443399" cy="954107"/>
          </a:xfrm>
          <a:prstGeom prst="rect">
            <a:avLst/>
          </a:prstGeom>
          <a:noFill/>
        </p:spPr>
        <p:txBody>
          <a:bodyPr wrap="square" rtlCol="0">
            <a:spAutoFit/>
          </a:bodyPr>
          <a:lstStyle/>
          <a:p>
            <a:r>
              <a:rPr lang="en-CA" sz="1400" b="1" dirty="0"/>
              <a:t>Engages and Motivates</a:t>
            </a:r>
          </a:p>
          <a:p>
            <a:r>
              <a:rPr lang="en-CA" sz="1400" dirty="0"/>
              <a:t>Engaged employees are more motivated and have greater job satisfaction</a:t>
            </a:r>
            <a:endParaRPr lang="en-CA" dirty="0"/>
          </a:p>
        </p:txBody>
      </p:sp>
      <p:grpSp>
        <p:nvGrpSpPr>
          <p:cNvPr id="34" name="Group 33">
            <a:extLst>
              <a:ext uri="{FF2B5EF4-FFF2-40B4-BE49-F238E27FC236}">
                <a16:creationId xmlns:a16="http://schemas.microsoft.com/office/drawing/2014/main" id="{3184D169-4DFB-0DAB-542A-8A228186AD52}"/>
              </a:ext>
              <a:ext uri="{C183D7F6-B498-43B3-948B-1728B52AA6E4}">
                <adec:decorative xmlns:adec="http://schemas.microsoft.com/office/drawing/2017/decorative" val="1"/>
              </a:ext>
            </a:extLst>
          </p:cNvPr>
          <p:cNvGrpSpPr/>
          <p:nvPr/>
        </p:nvGrpSpPr>
        <p:grpSpPr>
          <a:xfrm>
            <a:off x="7843602" y="2092381"/>
            <a:ext cx="1802353" cy="1802353"/>
            <a:chOff x="7898695" y="2080239"/>
            <a:chExt cx="1802353" cy="1802353"/>
          </a:xfrm>
        </p:grpSpPr>
        <p:grpSp>
          <p:nvGrpSpPr>
            <p:cNvPr id="21" name="Group 20">
              <a:extLst>
                <a:ext uri="{FF2B5EF4-FFF2-40B4-BE49-F238E27FC236}">
                  <a16:creationId xmlns:a16="http://schemas.microsoft.com/office/drawing/2014/main" id="{9CEB206E-BDE0-FCA6-0308-926A820A333C}"/>
                </a:ext>
              </a:extLst>
            </p:cNvPr>
            <p:cNvGrpSpPr/>
            <p:nvPr/>
          </p:nvGrpSpPr>
          <p:grpSpPr>
            <a:xfrm>
              <a:off x="7898695" y="2080239"/>
              <a:ext cx="1802353" cy="1802353"/>
              <a:chOff x="4661365" y="2614450"/>
              <a:chExt cx="1671145" cy="1671145"/>
            </a:xfrm>
          </p:grpSpPr>
          <p:sp>
            <p:nvSpPr>
              <p:cNvPr id="22" name="Oval 21">
                <a:extLst>
                  <a:ext uri="{FF2B5EF4-FFF2-40B4-BE49-F238E27FC236}">
                    <a16:creationId xmlns:a16="http://schemas.microsoft.com/office/drawing/2014/main" id="{214C4DC3-8EE0-1713-1ECD-7D5216206F77}"/>
                  </a:ext>
                </a:extLst>
              </p:cNvPr>
              <p:cNvSpPr/>
              <p:nvPr/>
            </p:nvSpPr>
            <p:spPr>
              <a:xfrm>
                <a:off x="4661365" y="2614450"/>
                <a:ext cx="1671145" cy="1671145"/>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Oval 22">
                <a:extLst>
                  <a:ext uri="{FF2B5EF4-FFF2-40B4-BE49-F238E27FC236}">
                    <a16:creationId xmlns:a16="http://schemas.microsoft.com/office/drawing/2014/main" id="{D3F0E52C-5032-CE2B-869B-84F0E4411557}"/>
                  </a:ext>
                </a:extLst>
              </p:cNvPr>
              <p:cNvSpPr/>
              <p:nvPr/>
            </p:nvSpPr>
            <p:spPr>
              <a:xfrm>
                <a:off x="4926751" y="2879836"/>
                <a:ext cx="1140373" cy="114037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pic>
          <p:nvPicPr>
            <p:cNvPr id="9" name="Graphic 8" descr="Bar graph with upward trend outline">
              <a:extLst>
                <a:ext uri="{FF2B5EF4-FFF2-40B4-BE49-F238E27FC236}">
                  <a16:creationId xmlns:a16="http://schemas.microsoft.com/office/drawing/2014/main" id="{82B61A1C-BA75-684B-5F20-4133754E146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42671" y="2558353"/>
              <a:ext cx="914400" cy="914400"/>
            </a:xfrm>
            <a:prstGeom prst="rect">
              <a:avLst/>
            </a:prstGeom>
          </p:spPr>
        </p:pic>
      </p:grpSp>
      <p:grpSp>
        <p:nvGrpSpPr>
          <p:cNvPr id="33" name="Group 32">
            <a:extLst>
              <a:ext uri="{FF2B5EF4-FFF2-40B4-BE49-F238E27FC236}">
                <a16:creationId xmlns:a16="http://schemas.microsoft.com/office/drawing/2014/main" id="{D32B64D6-D55C-F97D-0A47-8B1A8F1191DE}"/>
              </a:ext>
              <a:ext uri="{C183D7F6-B498-43B3-948B-1728B52AA6E4}">
                <adec:decorative xmlns:adec="http://schemas.microsoft.com/office/drawing/2017/decorative" val="1"/>
              </a:ext>
            </a:extLst>
          </p:cNvPr>
          <p:cNvGrpSpPr/>
          <p:nvPr/>
        </p:nvGrpSpPr>
        <p:grpSpPr>
          <a:xfrm>
            <a:off x="4709625" y="2080239"/>
            <a:ext cx="1802353" cy="1802353"/>
            <a:chOff x="4727945" y="2080239"/>
            <a:chExt cx="1802353" cy="1802353"/>
          </a:xfrm>
        </p:grpSpPr>
        <p:grpSp>
          <p:nvGrpSpPr>
            <p:cNvPr id="20" name="Group 19">
              <a:extLst>
                <a:ext uri="{FF2B5EF4-FFF2-40B4-BE49-F238E27FC236}">
                  <a16:creationId xmlns:a16="http://schemas.microsoft.com/office/drawing/2014/main" id="{42FE8978-596A-7B7B-8847-9B57432797B5}"/>
                </a:ext>
              </a:extLst>
            </p:cNvPr>
            <p:cNvGrpSpPr/>
            <p:nvPr/>
          </p:nvGrpSpPr>
          <p:grpSpPr>
            <a:xfrm>
              <a:off x="4727945" y="2080239"/>
              <a:ext cx="1802353" cy="1802353"/>
              <a:chOff x="4661365" y="2614450"/>
              <a:chExt cx="1671145" cy="1671145"/>
            </a:xfrm>
          </p:grpSpPr>
          <p:sp>
            <p:nvSpPr>
              <p:cNvPr id="13" name="Oval 12">
                <a:extLst>
                  <a:ext uri="{FF2B5EF4-FFF2-40B4-BE49-F238E27FC236}">
                    <a16:creationId xmlns:a16="http://schemas.microsoft.com/office/drawing/2014/main" id="{9EB1ECE3-C844-5F47-9598-822C701DEF1D}"/>
                  </a:ext>
                </a:extLst>
              </p:cNvPr>
              <p:cNvSpPr/>
              <p:nvPr/>
            </p:nvSpPr>
            <p:spPr>
              <a:xfrm>
                <a:off x="4661365" y="2614450"/>
                <a:ext cx="1671145" cy="1671145"/>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Oval 17">
                <a:extLst>
                  <a:ext uri="{FF2B5EF4-FFF2-40B4-BE49-F238E27FC236}">
                    <a16:creationId xmlns:a16="http://schemas.microsoft.com/office/drawing/2014/main" id="{519C1F80-3D17-FC64-9317-719624DABFD5}"/>
                  </a:ext>
                </a:extLst>
              </p:cNvPr>
              <p:cNvSpPr/>
              <p:nvPr/>
            </p:nvSpPr>
            <p:spPr>
              <a:xfrm>
                <a:off x="4926751" y="2879836"/>
                <a:ext cx="1140373" cy="114037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pic>
          <p:nvPicPr>
            <p:cNvPr id="6" name="Graphic 5" descr="Handshake outline">
              <a:extLst>
                <a:ext uri="{FF2B5EF4-FFF2-40B4-BE49-F238E27FC236}">
                  <a16:creationId xmlns:a16="http://schemas.microsoft.com/office/drawing/2014/main" id="{7E7A231A-21DE-6090-B994-84AEEA75D46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185144" y="2590928"/>
              <a:ext cx="914400" cy="914400"/>
            </a:xfrm>
            <a:prstGeom prst="rect">
              <a:avLst/>
            </a:prstGeom>
          </p:spPr>
        </p:pic>
      </p:grpSp>
      <p:grpSp>
        <p:nvGrpSpPr>
          <p:cNvPr id="32" name="Group 31">
            <a:extLst>
              <a:ext uri="{FF2B5EF4-FFF2-40B4-BE49-F238E27FC236}">
                <a16:creationId xmlns:a16="http://schemas.microsoft.com/office/drawing/2014/main" id="{FCDDE537-21B4-EDB5-806A-B7402C4B3D71}"/>
              </a:ext>
              <a:ext uri="{C183D7F6-B498-43B3-948B-1728B52AA6E4}">
                <adec:decorative xmlns:adec="http://schemas.microsoft.com/office/drawing/2017/decorative" val="1"/>
              </a:ext>
            </a:extLst>
          </p:cNvPr>
          <p:cNvGrpSpPr/>
          <p:nvPr/>
        </p:nvGrpSpPr>
        <p:grpSpPr>
          <a:xfrm>
            <a:off x="1501730" y="2080238"/>
            <a:ext cx="1802353" cy="1802353"/>
            <a:chOff x="1471425" y="2080239"/>
            <a:chExt cx="1802353" cy="1802353"/>
          </a:xfrm>
        </p:grpSpPr>
        <p:grpSp>
          <p:nvGrpSpPr>
            <p:cNvPr id="29" name="Group 28">
              <a:extLst>
                <a:ext uri="{FF2B5EF4-FFF2-40B4-BE49-F238E27FC236}">
                  <a16:creationId xmlns:a16="http://schemas.microsoft.com/office/drawing/2014/main" id="{9ED4216C-2821-F755-708C-AF52C3DB31F4}"/>
                </a:ext>
              </a:extLst>
            </p:cNvPr>
            <p:cNvGrpSpPr/>
            <p:nvPr/>
          </p:nvGrpSpPr>
          <p:grpSpPr>
            <a:xfrm>
              <a:off x="1471425" y="2080239"/>
              <a:ext cx="1802353" cy="1802353"/>
              <a:chOff x="4661365" y="2614450"/>
              <a:chExt cx="1671145" cy="1671145"/>
            </a:xfrm>
          </p:grpSpPr>
          <p:sp>
            <p:nvSpPr>
              <p:cNvPr id="30" name="Oval 29">
                <a:extLst>
                  <a:ext uri="{FF2B5EF4-FFF2-40B4-BE49-F238E27FC236}">
                    <a16:creationId xmlns:a16="http://schemas.microsoft.com/office/drawing/2014/main" id="{EED4FC84-A7DE-C5A3-E291-F6489C629047}"/>
                  </a:ext>
                </a:extLst>
              </p:cNvPr>
              <p:cNvSpPr/>
              <p:nvPr/>
            </p:nvSpPr>
            <p:spPr>
              <a:xfrm>
                <a:off x="4661365" y="2614450"/>
                <a:ext cx="1671145" cy="1671145"/>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 name="Oval 30">
                <a:extLst>
                  <a:ext uri="{FF2B5EF4-FFF2-40B4-BE49-F238E27FC236}">
                    <a16:creationId xmlns:a16="http://schemas.microsoft.com/office/drawing/2014/main" id="{FA2063E3-112B-BBA1-71C5-F098159C3310}"/>
                  </a:ext>
                </a:extLst>
              </p:cNvPr>
              <p:cNvSpPr/>
              <p:nvPr/>
            </p:nvSpPr>
            <p:spPr>
              <a:xfrm>
                <a:off x="4926751" y="2879836"/>
                <a:ext cx="1140373" cy="1140373"/>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8" name="Group 27">
              <a:extLst>
                <a:ext uri="{FF2B5EF4-FFF2-40B4-BE49-F238E27FC236}">
                  <a16:creationId xmlns:a16="http://schemas.microsoft.com/office/drawing/2014/main" id="{2811A721-5191-5837-F564-B21A2E093569}"/>
                </a:ext>
              </a:extLst>
            </p:cNvPr>
            <p:cNvGrpSpPr/>
            <p:nvPr/>
          </p:nvGrpSpPr>
          <p:grpSpPr>
            <a:xfrm>
              <a:off x="1763771" y="2437287"/>
              <a:ext cx="942472" cy="1071910"/>
              <a:chOff x="1345469" y="2523245"/>
              <a:chExt cx="1367023" cy="1554769"/>
            </a:xfrm>
          </p:grpSpPr>
          <p:pic>
            <p:nvPicPr>
              <p:cNvPr id="11" name="Graphic 10" descr="Lightning bolt outline">
                <a:extLst>
                  <a:ext uri="{FF2B5EF4-FFF2-40B4-BE49-F238E27FC236}">
                    <a16:creationId xmlns:a16="http://schemas.microsoft.com/office/drawing/2014/main" id="{3D9158E2-3983-3312-F49D-910E7D8D31E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45469" y="2523245"/>
                <a:ext cx="1367023" cy="1367023"/>
              </a:xfrm>
              <a:prstGeom prst="rect">
                <a:avLst/>
              </a:prstGeom>
            </p:spPr>
          </p:pic>
          <p:sp>
            <p:nvSpPr>
              <p:cNvPr id="27" name="Arrow: Down 26">
                <a:extLst>
                  <a:ext uri="{FF2B5EF4-FFF2-40B4-BE49-F238E27FC236}">
                    <a16:creationId xmlns:a16="http://schemas.microsoft.com/office/drawing/2014/main" id="{0001B141-D9BB-8017-29EF-053F8B6D9C13}"/>
                  </a:ext>
                </a:extLst>
              </p:cNvPr>
              <p:cNvSpPr/>
              <p:nvPr/>
            </p:nvSpPr>
            <p:spPr>
              <a:xfrm>
                <a:off x="2066092" y="3320081"/>
                <a:ext cx="556068" cy="757933"/>
              </a:xfrm>
              <a:prstGeom prst="downArrow">
                <a:avLst/>
              </a:prstGeom>
              <a:noFill/>
              <a:ln w="19050">
                <a:solidFill>
                  <a:schemeClr val="tx2">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grpSp>
    </p:spTree>
    <p:extLst>
      <p:ext uri="{BB962C8B-B14F-4D97-AF65-F5344CB8AC3E}">
        <p14:creationId xmlns:p14="http://schemas.microsoft.com/office/powerpoint/2010/main" val="36123318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E6DA8-6FD6-77EF-D7A3-C3773CB1AD0F}"/>
              </a:ext>
            </a:extLst>
          </p:cNvPr>
          <p:cNvSpPr>
            <a:spLocks noGrp="1"/>
          </p:cNvSpPr>
          <p:nvPr>
            <p:ph type="title"/>
          </p:nvPr>
        </p:nvSpPr>
        <p:spPr/>
        <p:txBody>
          <a:bodyPr>
            <a:normAutofit/>
          </a:bodyPr>
          <a:lstStyle/>
          <a:p>
            <a:r>
              <a:rPr lang="en-CA" dirty="0"/>
              <a:t>Your Employees Want to Hear About Change From You</a:t>
            </a:r>
          </a:p>
        </p:txBody>
      </p:sp>
      <p:pic>
        <p:nvPicPr>
          <p:cNvPr id="4" name="Picture 3" descr="employee supervisors are preferred senders of personal impact messages, table.">
            <a:extLst>
              <a:ext uri="{FF2B5EF4-FFF2-40B4-BE49-F238E27FC236}">
                <a16:creationId xmlns:a16="http://schemas.microsoft.com/office/drawing/2014/main" id="{3C3FFD83-4FFF-AE8D-EDB3-D6ED1127B5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912" y="1766888"/>
            <a:ext cx="6973197" cy="4611437"/>
          </a:xfrm>
          <a:prstGeom prst="rect">
            <a:avLst/>
          </a:prstGeom>
        </p:spPr>
      </p:pic>
    </p:spTree>
    <p:extLst>
      <p:ext uri="{BB962C8B-B14F-4D97-AF65-F5344CB8AC3E}">
        <p14:creationId xmlns:p14="http://schemas.microsoft.com/office/powerpoint/2010/main" val="32151607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9BAA67-97F2-D3FF-5402-ADC4AA8D0943}"/>
              </a:ext>
            </a:extLst>
          </p:cNvPr>
          <p:cNvSpPr>
            <a:spLocks noGrp="1"/>
          </p:cNvSpPr>
          <p:nvPr>
            <p:ph type="title"/>
          </p:nvPr>
        </p:nvSpPr>
        <p:spPr/>
        <p:txBody>
          <a:bodyPr>
            <a:normAutofit/>
          </a:bodyPr>
          <a:lstStyle/>
          <a:p>
            <a:r>
              <a:rPr lang="en-CA" dirty="0"/>
              <a:t>Advocate and lead by example</a:t>
            </a:r>
          </a:p>
        </p:txBody>
      </p:sp>
      <p:sp>
        <p:nvSpPr>
          <p:cNvPr id="2" name="Content Placeholder 1">
            <a:extLst>
              <a:ext uri="{FF2B5EF4-FFF2-40B4-BE49-F238E27FC236}">
                <a16:creationId xmlns:a16="http://schemas.microsoft.com/office/drawing/2014/main" id="{21B46FA5-33EE-8DB6-0B99-423F3FBF7201}"/>
              </a:ext>
            </a:extLst>
          </p:cNvPr>
          <p:cNvSpPr>
            <a:spLocks noGrp="1"/>
          </p:cNvSpPr>
          <p:nvPr>
            <p:ph idx="1"/>
          </p:nvPr>
        </p:nvSpPr>
        <p:spPr>
          <a:xfrm>
            <a:off x="538161" y="1657350"/>
            <a:ext cx="4999610" cy="4457700"/>
          </a:xfrm>
        </p:spPr>
        <p:txBody>
          <a:bodyPr/>
          <a:lstStyle/>
          <a:p>
            <a:r>
              <a:rPr lang="en-CA" b="0" dirty="0">
                <a:latin typeface="+mn-lt"/>
              </a:rPr>
              <a:t>Actions speak louder than words. Your approach to engaging with the new workplace is the most meaningful communication with your employees.   </a:t>
            </a:r>
          </a:p>
          <a:p>
            <a:r>
              <a:rPr lang="en-CA" b="0" dirty="0">
                <a:latin typeface="+mn-lt"/>
              </a:rPr>
              <a:t>Once you have determined how you want to engage with the new workplace, ensure you are leading by example. Follow your agreed upon rules for workplace etiquette. </a:t>
            </a:r>
          </a:p>
          <a:p>
            <a:r>
              <a:rPr lang="en-CA" b="0" dirty="0">
                <a:latin typeface="+mn-lt"/>
              </a:rPr>
              <a:t>Don’t ignore the change. Confront it directly and take ownership of it to ensure your team can meet its challenges. </a:t>
            </a:r>
          </a:p>
        </p:txBody>
      </p:sp>
      <p:grpSp>
        <p:nvGrpSpPr>
          <p:cNvPr id="3" name="Group 2">
            <a:extLst>
              <a:ext uri="{FF2B5EF4-FFF2-40B4-BE49-F238E27FC236}">
                <a16:creationId xmlns:a16="http://schemas.microsoft.com/office/drawing/2014/main" id="{A8AAE2BE-9D87-6C05-D744-507576E86D64}"/>
              </a:ext>
              <a:ext uri="{C183D7F6-B498-43B3-948B-1728B52AA6E4}">
                <adec:decorative xmlns:adec="http://schemas.microsoft.com/office/drawing/2017/decorative" val="1"/>
              </a:ext>
            </a:extLst>
          </p:cNvPr>
          <p:cNvGrpSpPr/>
          <p:nvPr/>
        </p:nvGrpSpPr>
        <p:grpSpPr>
          <a:xfrm>
            <a:off x="7241629" y="1657350"/>
            <a:ext cx="2617076" cy="2617076"/>
            <a:chOff x="7241629" y="1657350"/>
            <a:chExt cx="2617076" cy="2617076"/>
          </a:xfrm>
        </p:grpSpPr>
        <p:sp>
          <p:nvSpPr>
            <p:cNvPr id="10" name="Oval 9">
              <a:extLst>
                <a:ext uri="{FF2B5EF4-FFF2-40B4-BE49-F238E27FC236}">
                  <a16:creationId xmlns:a16="http://schemas.microsoft.com/office/drawing/2014/main" id="{C3A2014D-34E6-EADE-3B67-9D3B1D72CB05}"/>
                </a:ext>
                <a:ext uri="{C183D7F6-B498-43B3-948B-1728B52AA6E4}">
                  <adec:decorative xmlns:adec="http://schemas.microsoft.com/office/drawing/2017/decorative" val="1"/>
                </a:ext>
              </a:extLst>
            </p:cNvPr>
            <p:cNvSpPr/>
            <p:nvPr/>
          </p:nvSpPr>
          <p:spPr>
            <a:xfrm>
              <a:off x="7241629" y="1657350"/>
              <a:ext cx="2617076" cy="261707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CA"/>
            </a:p>
          </p:txBody>
        </p:sp>
        <p:pic>
          <p:nvPicPr>
            <p:cNvPr id="5" name="Graphic 4" descr="Partial sun with solid fill">
              <a:extLst>
                <a:ext uri="{FF2B5EF4-FFF2-40B4-BE49-F238E27FC236}">
                  <a16:creationId xmlns:a16="http://schemas.microsoft.com/office/drawing/2014/main" id="{7A55A80B-D182-7F06-3125-CDD777AC00A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50167" y="1927993"/>
              <a:ext cx="740980" cy="740980"/>
            </a:xfrm>
            <a:prstGeom prst="rect">
              <a:avLst/>
            </a:prstGeom>
          </p:spPr>
        </p:pic>
        <p:pic>
          <p:nvPicPr>
            <p:cNvPr id="9" name="Graphic 8" descr="Hike with solid fill">
              <a:extLst>
                <a:ext uri="{FF2B5EF4-FFF2-40B4-BE49-F238E27FC236}">
                  <a16:creationId xmlns:a16="http://schemas.microsoft.com/office/drawing/2014/main" id="{E23033A3-9F85-7144-B0B3-5BF3BC86FBB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90235" y="2668973"/>
              <a:ext cx="1395249" cy="1395249"/>
            </a:xfrm>
            <a:prstGeom prst="rect">
              <a:avLst/>
            </a:prstGeom>
          </p:spPr>
        </p:pic>
      </p:grpSp>
    </p:spTree>
    <p:extLst>
      <p:ext uri="{BB962C8B-B14F-4D97-AF65-F5344CB8AC3E}">
        <p14:creationId xmlns:p14="http://schemas.microsoft.com/office/powerpoint/2010/main" val="29339108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002CE-8EF1-DDFD-24EA-6F2570759FCC}"/>
              </a:ext>
            </a:extLst>
          </p:cNvPr>
          <p:cNvSpPr>
            <a:spLocks noGrp="1"/>
          </p:cNvSpPr>
          <p:nvPr>
            <p:ph type="title"/>
          </p:nvPr>
        </p:nvSpPr>
        <p:spPr/>
        <p:txBody>
          <a:bodyPr>
            <a:normAutofit/>
          </a:bodyPr>
          <a:lstStyle/>
          <a:p>
            <a:r>
              <a:rPr lang="en-CA" dirty="0"/>
              <a:t>Coaching and managing resistance</a:t>
            </a:r>
          </a:p>
        </p:txBody>
      </p:sp>
      <p:sp>
        <p:nvSpPr>
          <p:cNvPr id="4" name="Oval 3">
            <a:extLst>
              <a:ext uri="{FF2B5EF4-FFF2-40B4-BE49-F238E27FC236}">
                <a16:creationId xmlns:a16="http://schemas.microsoft.com/office/drawing/2014/main" id="{C7EEBD97-7B77-8F19-8364-1778CD59EF70}"/>
              </a:ext>
              <a:ext uri="{C183D7F6-B498-43B3-948B-1728B52AA6E4}">
                <adec:decorative xmlns:adec="http://schemas.microsoft.com/office/drawing/2017/decorative" val="1"/>
              </a:ext>
            </a:extLst>
          </p:cNvPr>
          <p:cNvSpPr/>
          <p:nvPr/>
        </p:nvSpPr>
        <p:spPr>
          <a:xfrm>
            <a:off x="4268257" y="2002825"/>
            <a:ext cx="3515785" cy="3515785"/>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 name="Graphic 4" descr="Group of women">
            <a:extLst>
              <a:ext uri="{FF2B5EF4-FFF2-40B4-BE49-F238E27FC236}">
                <a16:creationId xmlns:a16="http://schemas.microsoft.com/office/drawing/2014/main" id="{B19C7101-560E-8F3A-A177-991F841221C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81463" y="2002824"/>
            <a:ext cx="3889371" cy="3889371"/>
          </a:xfrm>
          <a:prstGeom prst="rect">
            <a:avLst/>
          </a:prstGeom>
        </p:spPr>
      </p:pic>
    </p:spTree>
    <p:extLst>
      <p:ext uri="{BB962C8B-B14F-4D97-AF65-F5344CB8AC3E}">
        <p14:creationId xmlns:p14="http://schemas.microsoft.com/office/powerpoint/2010/main" val="32590928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E5312BC-D894-4EF1-B411-739DA565E3FB}"/>
              </a:ext>
            </a:extLst>
          </p:cNvPr>
          <p:cNvSpPr>
            <a:spLocks noGrp="1"/>
          </p:cNvSpPr>
          <p:nvPr>
            <p:ph type="title"/>
          </p:nvPr>
        </p:nvSpPr>
        <p:spPr/>
        <p:txBody>
          <a:bodyPr/>
          <a:lstStyle/>
          <a:p>
            <a:r>
              <a:rPr lang="en-US" b="1" dirty="0">
                <a:latin typeface="Calibri" panose="020F0502020204030204" pitchFamily="34" charset="0"/>
                <a:cs typeface="Calibri" panose="020F0502020204030204" pitchFamily="34" charset="0"/>
              </a:rPr>
              <a:t>Considering our Employees Needs – the Change Curve Model</a:t>
            </a:r>
          </a:p>
        </p:txBody>
      </p:sp>
      <p:grpSp>
        <p:nvGrpSpPr>
          <p:cNvPr id="4" name="Group 38" descr="Change curve showing the different phase of an employee going through change over time and it’s possible impact on performance starting with Denial, Resistance, Exploration and commitment. ">
            <a:extLst>
              <a:ext uri="{FF2B5EF4-FFF2-40B4-BE49-F238E27FC236}">
                <a16:creationId xmlns:a16="http://schemas.microsoft.com/office/drawing/2014/main" id="{7D098EE0-3BFA-C18D-21C7-104B50FD7762}"/>
              </a:ext>
            </a:extLst>
          </p:cNvPr>
          <p:cNvGrpSpPr/>
          <p:nvPr/>
        </p:nvGrpSpPr>
        <p:grpSpPr>
          <a:xfrm>
            <a:off x="1234500" y="1603222"/>
            <a:ext cx="9355241" cy="4982929"/>
            <a:chOff x="426363" y="1569720"/>
            <a:chExt cx="7090223" cy="3653056"/>
          </a:xfrm>
        </p:grpSpPr>
        <p:cxnSp>
          <p:nvCxnSpPr>
            <p:cNvPr id="5" name="Straight Arrow Connector 9">
              <a:extLst>
                <a:ext uri="{FF2B5EF4-FFF2-40B4-BE49-F238E27FC236}">
                  <a16:creationId xmlns:a16="http://schemas.microsoft.com/office/drawing/2014/main" id="{3842C466-C7D4-9BD9-F256-E7DF9B554B6F}"/>
                </a:ext>
              </a:extLst>
            </p:cNvPr>
            <p:cNvCxnSpPr>
              <a:cxnSpLocks/>
            </p:cNvCxnSpPr>
            <p:nvPr/>
          </p:nvCxnSpPr>
          <p:spPr>
            <a:xfrm flipV="1">
              <a:off x="762000" y="1569720"/>
              <a:ext cx="0" cy="3329305"/>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11">
              <a:extLst>
                <a:ext uri="{FF2B5EF4-FFF2-40B4-BE49-F238E27FC236}">
                  <a16:creationId xmlns:a16="http://schemas.microsoft.com/office/drawing/2014/main" id="{D500568F-9AD3-A0A4-0E11-7D5E56AACFB2}"/>
                </a:ext>
              </a:extLst>
            </p:cNvPr>
            <p:cNvCxnSpPr/>
            <p:nvPr/>
          </p:nvCxnSpPr>
          <p:spPr>
            <a:xfrm>
              <a:off x="747486" y="4899025"/>
              <a:ext cx="6769100" cy="0"/>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Freeform: Shape 13">
              <a:extLst>
                <a:ext uri="{FF2B5EF4-FFF2-40B4-BE49-F238E27FC236}">
                  <a16:creationId xmlns:a16="http://schemas.microsoft.com/office/drawing/2014/main" id="{1F0873E0-DC4B-6171-4693-C1E51DF9C471}"/>
                </a:ext>
              </a:extLst>
            </p:cNvPr>
            <p:cNvSpPr/>
            <p:nvPr/>
          </p:nvSpPr>
          <p:spPr>
            <a:xfrm>
              <a:off x="762000" y="2018986"/>
              <a:ext cx="6296026" cy="2378358"/>
            </a:xfrm>
            <a:custGeom>
              <a:avLst/>
              <a:gdLst>
                <a:gd name="connsiteX0" fmla="*/ 0 w 6263640"/>
                <a:gd name="connsiteY0" fmla="*/ 1562414 h 2378358"/>
                <a:gd name="connsiteX1" fmla="*/ 1592580 w 6263640"/>
                <a:gd name="connsiteY1" fmla="*/ 731834 h 2378358"/>
                <a:gd name="connsiteX2" fmla="*/ 3002280 w 6263640"/>
                <a:gd name="connsiteY2" fmla="*/ 2377754 h 2378358"/>
                <a:gd name="connsiteX3" fmla="*/ 4876800 w 6263640"/>
                <a:gd name="connsiteY3" fmla="*/ 518474 h 2378358"/>
                <a:gd name="connsiteX4" fmla="*/ 6263640 w 6263640"/>
                <a:gd name="connsiteY4" fmla="*/ 314 h 237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640" h="2378358">
                  <a:moveTo>
                    <a:pt x="0" y="1562414"/>
                  </a:moveTo>
                  <a:cubicBezTo>
                    <a:pt x="546100" y="1079179"/>
                    <a:pt x="1092200" y="595944"/>
                    <a:pt x="1592580" y="731834"/>
                  </a:cubicBezTo>
                  <a:cubicBezTo>
                    <a:pt x="2092960" y="867724"/>
                    <a:pt x="2454910" y="2413314"/>
                    <a:pt x="3002280" y="2377754"/>
                  </a:cubicBezTo>
                  <a:cubicBezTo>
                    <a:pt x="3549650" y="2342194"/>
                    <a:pt x="4333240" y="914714"/>
                    <a:pt x="4876800" y="518474"/>
                  </a:cubicBezTo>
                  <a:cubicBezTo>
                    <a:pt x="5420360" y="122234"/>
                    <a:pt x="6085840" y="-7306"/>
                    <a:pt x="6263640" y="314"/>
                  </a:cubicBezTo>
                </a:path>
              </a:pathLst>
            </a:custGeom>
            <a:noFill/>
            <a:ln w="28575">
              <a:solidFill>
                <a:schemeClr val="accent6">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Oval 14">
              <a:extLst>
                <a:ext uri="{FF2B5EF4-FFF2-40B4-BE49-F238E27FC236}">
                  <a16:creationId xmlns:a16="http://schemas.microsoft.com/office/drawing/2014/main" id="{E092A97F-6BBD-D593-43B1-26BA24C314F5}"/>
                </a:ext>
              </a:extLst>
            </p:cNvPr>
            <p:cNvSpPr/>
            <p:nvPr/>
          </p:nvSpPr>
          <p:spPr>
            <a:xfrm>
              <a:off x="957324" y="2909472"/>
              <a:ext cx="571499" cy="57149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5">
              <a:extLst>
                <a:ext uri="{FF2B5EF4-FFF2-40B4-BE49-F238E27FC236}">
                  <a16:creationId xmlns:a16="http://schemas.microsoft.com/office/drawing/2014/main" id="{162386C6-35D4-3836-810E-12B51D5EF5E0}"/>
                </a:ext>
              </a:extLst>
            </p:cNvPr>
            <p:cNvSpPr/>
            <p:nvPr/>
          </p:nvSpPr>
          <p:spPr>
            <a:xfrm>
              <a:off x="2945326" y="3714930"/>
              <a:ext cx="571499" cy="5714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Oval 16">
              <a:extLst>
                <a:ext uri="{FF2B5EF4-FFF2-40B4-BE49-F238E27FC236}">
                  <a16:creationId xmlns:a16="http://schemas.microsoft.com/office/drawing/2014/main" id="{45F2B587-8419-A02F-3516-DD90BF6ECCBD}"/>
                </a:ext>
              </a:extLst>
            </p:cNvPr>
            <p:cNvSpPr/>
            <p:nvPr/>
          </p:nvSpPr>
          <p:spPr>
            <a:xfrm>
              <a:off x="4523345" y="3195221"/>
              <a:ext cx="571499" cy="5714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Oval 17">
              <a:extLst>
                <a:ext uri="{FF2B5EF4-FFF2-40B4-BE49-F238E27FC236}">
                  <a16:creationId xmlns:a16="http://schemas.microsoft.com/office/drawing/2014/main" id="{1904F2FF-0EAF-FC3F-524E-41A2AE222B75}"/>
                </a:ext>
              </a:extLst>
            </p:cNvPr>
            <p:cNvSpPr/>
            <p:nvPr/>
          </p:nvSpPr>
          <p:spPr>
            <a:xfrm>
              <a:off x="6018327" y="1935167"/>
              <a:ext cx="571499" cy="5714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TextBox 19">
              <a:extLst>
                <a:ext uri="{FF2B5EF4-FFF2-40B4-BE49-F238E27FC236}">
                  <a16:creationId xmlns:a16="http://schemas.microsoft.com/office/drawing/2014/main" id="{E654B4EB-FE97-5DE0-C53C-606F64225C4F}"/>
                </a:ext>
              </a:extLst>
            </p:cNvPr>
            <p:cNvSpPr txBox="1"/>
            <p:nvPr/>
          </p:nvSpPr>
          <p:spPr>
            <a:xfrm>
              <a:off x="894839" y="2035903"/>
              <a:ext cx="857250"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Denial</a:t>
              </a:r>
              <a:endParaRPr lang="en-CA" sz="1600" dirty="0">
                <a:latin typeface="Arial" panose="020B0604020202020204" pitchFamily="34" charset="0"/>
                <a:cs typeface="Arial" panose="020B0604020202020204" pitchFamily="34" charset="0"/>
              </a:endParaRPr>
            </a:p>
          </p:txBody>
        </p:sp>
        <p:sp>
          <p:nvSpPr>
            <p:cNvPr id="15" name="TextBox 20">
              <a:extLst>
                <a:ext uri="{FF2B5EF4-FFF2-40B4-BE49-F238E27FC236}">
                  <a16:creationId xmlns:a16="http://schemas.microsoft.com/office/drawing/2014/main" id="{AA1D958F-4834-BA1F-DC7C-01EB58A22803}"/>
                </a:ext>
              </a:extLst>
            </p:cNvPr>
            <p:cNvSpPr txBox="1"/>
            <p:nvPr/>
          </p:nvSpPr>
          <p:spPr>
            <a:xfrm>
              <a:off x="1685474" y="3781820"/>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Resistance</a:t>
              </a:r>
              <a:endParaRPr lang="en-CA" sz="1600" dirty="0">
                <a:latin typeface="Arial" panose="020B0604020202020204" pitchFamily="34" charset="0"/>
                <a:cs typeface="Arial" panose="020B0604020202020204" pitchFamily="34" charset="0"/>
              </a:endParaRPr>
            </a:p>
          </p:txBody>
        </p:sp>
        <p:sp>
          <p:nvSpPr>
            <p:cNvPr id="16" name="TextBox 21">
              <a:extLst>
                <a:ext uri="{FF2B5EF4-FFF2-40B4-BE49-F238E27FC236}">
                  <a16:creationId xmlns:a16="http://schemas.microsoft.com/office/drawing/2014/main" id="{343B3274-D054-EC37-0744-050767ACF9E6}"/>
                </a:ext>
              </a:extLst>
            </p:cNvPr>
            <p:cNvSpPr txBox="1"/>
            <p:nvPr/>
          </p:nvSpPr>
          <p:spPr>
            <a:xfrm>
              <a:off x="4573983" y="1734985"/>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Commitment</a:t>
              </a:r>
              <a:endParaRPr lang="en-CA" sz="1600" dirty="0">
                <a:latin typeface="Arial" panose="020B0604020202020204" pitchFamily="34" charset="0"/>
                <a:cs typeface="Arial" panose="020B0604020202020204" pitchFamily="34" charset="0"/>
              </a:endParaRPr>
            </a:p>
          </p:txBody>
        </p:sp>
        <p:sp>
          <p:nvSpPr>
            <p:cNvPr id="17" name="TextBox 22">
              <a:extLst>
                <a:ext uri="{FF2B5EF4-FFF2-40B4-BE49-F238E27FC236}">
                  <a16:creationId xmlns:a16="http://schemas.microsoft.com/office/drawing/2014/main" id="{AC206013-C5B9-7CD1-CCB5-485DDFA6F240}"/>
                </a:ext>
              </a:extLst>
            </p:cNvPr>
            <p:cNvSpPr txBox="1"/>
            <p:nvPr/>
          </p:nvSpPr>
          <p:spPr>
            <a:xfrm>
              <a:off x="5157737" y="3331139"/>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Exploration</a:t>
              </a:r>
              <a:endParaRPr lang="en-CA" sz="1600" dirty="0">
                <a:latin typeface="Arial" panose="020B0604020202020204" pitchFamily="34" charset="0"/>
                <a:cs typeface="Arial" panose="020B0604020202020204" pitchFamily="34" charset="0"/>
              </a:endParaRPr>
            </a:p>
          </p:txBody>
        </p:sp>
        <p:sp>
          <p:nvSpPr>
            <p:cNvPr id="18" name="TextBox 23">
              <a:extLst>
                <a:ext uri="{FF2B5EF4-FFF2-40B4-BE49-F238E27FC236}">
                  <a16:creationId xmlns:a16="http://schemas.microsoft.com/office/drawing/2014/main" id="{E0E1ECE0-E469-4593-6848-2D2173EB20B3}"/>
                </a:ext>
              </a:extLst>
            </p:cNvPr>
            <p:cNvSpPr txBox="1"/>
            <p:nvPr/>
          </p:nvSpPr>
          <p:spPr>
            <a:xfrm>
              <a:off x="895564" y="2292286"/>
              <a:ext cx="1266532" cy="461665"/>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Initial shock and disbelief </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19" name="TextBox 24">
              <a:extLst>
                <a:ext uri="{FF2B5EF4-FFF2-40B4-BE49-F238E27FC236}">
                  <a16:creationId xmlns:a16="http://schemas.microsoft.com/office/drawing/2014/main" id="{2E9B8A09-5D37-B323-8F96-00B1D0F2FBC1}"/>
                </a:ext>
              </a:extLst>
            </p:cNvPr>
            <p:cNvSpPr txBox="1"/>
            <p:nvPr/>
          </p:nvSpPr>
          <p:spPr>
            <a:xfrm>
              <a:off x="1685473" y="4050415"/>
              <a:ext cx="1419675"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Feelings of fear and anger leading to protest</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0" name="TextBox 25">
              <a:extLst>
                <a:ext uri="{FF2B5EF4-FFF2-40B4-BE49-F238E27FC236}">
                  <a16:creationId xmlns:a16="http://schemas.microsoft.com/office/drawing/2014/main" id="{6C2CCEC5-C814-DA4C-4299-DAAF18035FDF}"/>
                </a:ext>
              </a:extLst>
            </p:cNvPr>
            <p:cNvSpPr txBox="1"/>
            <p:nvPr/>
          </p:nvSpPr>
          <p:spPr>
            <a:xfrm>
              <a:off x="5172927" y="3608835"/>
              <a:ext cx="1938467"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Employee understanding, excitement and questioning</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1" name="TextBox 26">
              <a:extLst>
                <a:ext uri="{FF2B5EF4-FFF2-40B4-BE49-F238E27FC236}">
                  <a16:creationId xmlns:a16="http://schemas.microsoft.com/office/drawing/2014/main" id="{39D89171-095E-D00E-BE7D-F3608D8FC3BA}"/>
                </a:ext>
              </a:extLst>
            </p:cNvPr>
            <p:cNvSpPr txBox="1"/>
            <p:nvPr/>
          </p:nvSpPr>
          <p:spPr>
            <a:xfrm>
              <a:off x="4585031" y="1990972"/>
              <a:ext cx="1419675"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Learning how to work with the change</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2" name="TextBox 28">
              <a:extLst>
                <a:ext uri="{FF2B5EF4-FFF2-40B4-BE49-F238E27FC236}">
                  <a16:creationId xmlns:a16="http://schemas.microsoft.com/office/drawing/2014/main" id="{4834B9B0-A158-0FB7-2D57-FFE6E20CBDA5}"/>
                </a:ext>
              </a:extLst>
            </p:cNvPr>
            <p:cNvSpPr txBox="1"/>
            <p:nvPr/>
          </p:nvSpPr>
          <p:spPr>
            <a:xfrm>
              <a:off x="5786302" y="4914999"/>
              <a:ext cx="1578019" cy="307777"/>
            </a:xfrm>
            <a:prstGeom prst="rect">
              <a:avLst/>
            </a:prstGeom>
            <a:noFill/>
          </p:spPr>
          <p:txBody>
            <a:bodyPr wrap="square" rtlCol="0">
              <a:spAutoFit/>
            </a:bodyPr>
            <a:lstStyle/>
            <a:p>
              <a:pPr algn="r"/>
              <a:r>
                <a:rPr lang="en-US" sz="1400" i="1" dirty="0">
                  <a:latin typeface="Arial" panose="020B0604020202020204" pitchFamily="34" charset="0"/>
                  <a:cs typeface="Arial" panose="020B0604020202020204" pitchFamily="34" charset="0"/>
                </a:rPr>
                <a:t>Time</a:t>
              </a:r>
              <a:endParaRPr lang="en-CA" i="1" dirty="0">
                <a:latin typeface="Arial" panose="020B0604020202020204" pitchFamily="34" charset="0"/>
                <a:cs typeface="Arial" panose="020B0604020202020204" pitchFamily="34" charset="0"/>
              </a:endParaRPr>
            </a:p>
          </p:txBody>
        </p:sp>
        <p:sp>
          <p:nvSpPr>
            <p:cNvPr id="23" name="TextBox 29">
              <a:extLst>
                <a:ext uri="{FF2B5EF4-FFF2-40B4-BE49-F238E27FC236}">
                  <a16:creationId xmlns:a16="http://schemas.microsoft.com/office/drawing/2014/main" id="{307F8D4E-8D58-3325-89C1-1313363FAFE1}"/>
                </a:ext>
              </a:extLst>
            </p:cNvPr>
            <p:cNvSpPr txBox="1"/>
            <p:nvPr/>
          </p:nvSpPr>
          <p:spPr>
            <a:xfrm rot="16200000">
              <a:off x="-208758" y="2252323"/>
              <a:ext cx="1578019" cy="307777"/>
            </a:xfrm>
            <a:prstGeom prst="rect">
              <a:avLst/>
            </a:prstGeom>
            <a:noFill/>
          </p:spPr>
          <p:txBody>
            <a:bodyPr wrap="square" rtlCol="0">
              <a:spAutoFit/>
            </a:bodyPr>
            <a:lstStyle/>
            <a:p>
              <a:pPr algn="r"/>
              <a:r>
                <a:rPr lang="en-US" sz="1400" i="1" dirty="0">
                  <a:latin typeface="Arial" panose="020B0604020202020204" pitchFamily="34" charset="0"/>
                  <a:cs typeface="Arial" panose="020B0604020202020204" pitchFamily="34" charset="0"/>
                </a:rPr>
                <a:t>Performance</a:t>
              </a:r>
              <a:endParaRPr lang="en-CA" i="1" dirty="0">
                <a:latin typeface="Arial" panose="020B0604020202020204" pitchFamily="34" charset="0"/>
                <a:cs typeface="Arial" panose="020B0604020202020204" pitchFamily="34" charset="0"/>
              </a:endParaRPr>
            </a:p>
          </p:txBody>
        </p:sp>
        <p:pic>
          <p:nvPicPr>
            <p:cNvPr id="24" name="Graphic 31" descr="Surprised face with no fill">
              <a:extLst>
                <a:ext uri="{FF2B5EF4-FFF2-40B4-BE49-F238E27FC236}">
                  <a16:creationId xmlns:a16="http://schemas.microsoft.com/office/drawing/2014/main" id="{7670F410-8A4E-F115-8AD4-7DA66A53FAD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8753" y="2916522"/>
              <a:ext cx="548640" cy="548640"/>
            </a:xfrm>
            <a:prstGeom prst="rect">
              <a:avLst/>
            </a:prstGeom>
          </p:spPr>
        </p:pic>
        <p:pic>
          <p:nvPicPr>
            <p:cNvPr id="25" name="Graphic 33" descr="Neutral face with no fill">
              <a:extLst>
                <a:ext uri="{FF2B5EF4-FFF2-40B4-BE49-F238E27FC236}">
                  <a16:creationId xmlns:a16="http://schemas.microsoft.com/office/drawing/2014/main" id="{8383BB78-02F2-20E3-0C00-31DDB9DC3A9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34774" y="3207335"/>
              <a:ext cx="548640" cy="548640"/>
            </a:xfrm>
            <a:prstGeom prst="rect">
              <a:avLst/>
            </a:prstGeom>
          </p:spPr>
        </p:pic>
        <p:pic>
          <p:nvPicPr>
            <p:cNvPr id="26" name="Graphic 35" descr="Worried face with no fill">
              <a:extLst>
                <a:ext uri="{FF2B5EF4-FFF2-40B4-BE49-F238E27FC236}">
                  <a16:creationId xmlns:a16="http://schemas.microsoft.com/office/drawing/2014/main" id="{8EF4FE82-B41F-F80F-8158-5A64EDD3F8C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56755" y="3726359"/>
              <a:ext cx="548640" cy="548640"/>
            </a:xfrm>
            <a:prstGeom prst="rect">
              <a:avLst/>
            </a:prstGeom>
          </p:spPr>
        </p:pic>
        <p:pic>
          <p:nvPicPr>
            <p:cNvPr id="27" name="Graphic 37" descr="Grinning face with no fill">
              <a:extLst>
                <a:ext uri="{FF2B5EF4-FFF2-40B4-BE49-F238E27FC236}">
                  <a16:creationId xmlns:a16="http://schemas.microsoft.com/office/drawing/2014/main" id="{3C2CC686-28E6-DB33-2B8F-294AB942C93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29756" y="1950745"/>
              <a:ext cx="548640" cy="548640"/>
            </a:xfrm>
            <a:prstGeom prst="rect">
              <a:avLst/>
            </a:prstGeom>
          </p:spPr>
        </p:pic>
      </p:grpSp>
    </p:spTree>
    <p:extLst>
      <p:ext uri="{BB962C8B-B14F-4D97-AF65-F5344CB8AC3E}">
        <p14:creationId xmlns:p14="http://schemas.microsoft.com/office/powerpoint/2010/main" val="18753871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06BBF8-09B2-51C8-37AB-01D36F4778F1}"/>
              </a:ext>
            </a:extLst>
          </p:cNvPr>
          <p:cNvSpPr>
            <a:spLocks noGrp="1"/>
          </p:cNvSpPr>
          <p:nvPr>
            <p:ph type="title"/>
          </p:nvPr>
        </p:nvSpPr>
        <p:spPr/>
        <p:txBody>
          <a:bodyPr/>
          <a:lstStyle/>
          <a:p>
            <a:r>
              <a:rPr lang="en-CA"/>
              <a:t>Practice Compassion and Grace</a:t>
            </a:r>
          </a:p>
        </p:txBody>
      </p:sp>
      <p:pic>
        <p:nvPicPr>
          <p:cNvPr id="7" name="Picture Placeholder 6" descr="People at meeting">
            <a:extLst>
              <a:ext uri="{FF2B5EF4-FFF2-40B4-BE49-F238E27FC236}">
                <a16:creationId xmlns:a16="http://schemas.microsoft.com/office/drawing/2014/main" id="{029F2DA0-493B-6158-F5EF-5894A99FDE45}"/>
              </a:ext>
            </a:extLst>
          </p:cNvPr>
          <p:cNvPicPr>
            <a:picLocks noGrp="1" noChangeAspect="1"/>
          </p:cNvPicPr>
          <p:nvPr>
            <p:ph type="pic" idx="1"/>
          </p:nvPr>
        </p:nvPicPr>
        <p:blipFill>
          <a:blip r:embed="rId3" cstate="screen">
            <a:extLst>
              <a:ext uri="{28A0092B-C50C-407E-A947-70E740481C1C}">
                <a14:useLocalDpi xmlns:a14="http://schemas.microsoft.com/office/drawing/2010/main" val="0"/>
              </a:ext>
            </a:extLst>
          </a:blip>
          <a:srcRect/>
          <a:stretch>
            <a:fillRect/>
          </a:stretch>
        </p:blipFill>
        <p:spPr>
          <a:xfrm>
            <a:off x="4328799" y="1462254"/>
            <a:ext cx="7160592" cy="4400551"/>
          </a:xfrm>
        </p:spPr>
      </p:pic>
      <p:sp>
        <p:nvSpPr>
          <p:cNvPr id="2" name="Rectangle 1">
            <a:extLst>
              <a:ext uri="{FF2B5EF4-FFF2-40B4-BE49-F238E27FC236}">
                <a16:creationId xmlns:a16="http://schemas.microsoft.com/office/drawing/2014/main" id="{5F2133EB-D1DE-36F4-1A38-9F3853005FC1}"/>
              </a:ext>
              <a:ext uri="{C183D7F6-B498-43B3-948B-1728B52AA6E4}">
                <adec:decorative xmlns:adec="http://schemas.microsoft.com/office/drawing/2017/decorative" val="1"/>
              </a:ext>
            </a:extLst>
          </p:cNvPr>
          <p:cNvSpPr/>
          <p:nvPr/>
        </p:nvSpPr>
        <p:spPr>
          <a:xfrm>
            <a:off x="4328799" y="1462254"/>
            <a:ext cx="7160592" cy="4400551"/>
          </a:xfrm>
          <a:prstGeom prst="rect">
            <a:avLst/>
          </a:prstGeom>
          <a:gradFill flip="none" rotWithShape="1">
            <a:gsLst>
              <a:gs pos="0">
                <a:schemeClr val="accent1">
                  <a:lumMod val="5000"/>
                  <a:lumOff val="95000"/>
                  <a:alpha val="17000"/>
                </a:schemeClr>
              </a:gs>
              <a:gs pos="93000">
                <a:schemeClr val="bg1"/>
              </a:gs>
              <a:gs pos="100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 name="Text Placeholder 2">
            <a:extLst>
              <a:ext uri="{FF2B5EF4-FFF2-40B4-BE49-F238E27FC236}">
                <a16:creationId xmlns:a16="http://schemas.microsoft.com/office/drawing/2014/main" id="{850EFA27-BB7E-A97B-CC4E-5CD87E1BCE56}"/>
              </a:ext>
            </a:extLst>
          </p:cNvPr>
          <p:cNvSpPr>
            <a:spLocks noGrp="1"/>
          </p:cNvSpPr>
          <p:nvPr>
            <p:ph type="body" sz="half" idx="2"/>
          </p:nvPr>
        </p:nvSpPr>
        <p:spPr>
          <a:xfrm>
            <a:off x="750497" y="1489237"/>
            <a:ext cx="3935650" cy="4120018"/>
          </a:xfrm>
        </p:spPr>
        <p:txBody>
          <a:bodyPr lIns="91440" tIns="45720" rIns="91440" bIns="45720" anchor="t">
            <a:normAutofit/>
          </a:bodyPr>
          <a:lstStyle/>
          <a:p>
            <a:pPr marL="285750" indent="-285750">
              <a:spcBef>
                <a:spcPts val="0"/>
              </a:spcBef>
              <a:buFont typeface="Arial" panose="020B0604020202020204" pitchFamily="34" charset="0"/>
              <a:buChar char="•"/>
            </a:pPr>
            <a:endParaRPr lang="en-CA" sz="1800" dirty="0">
              <a:latin typeface="Calibri"/>
              <a:ea typeface="Calibri"/>
              <a:cs typeface="Times New Roman"/>
            </a:endParaRPr>
          </a:p>
          <a:p>
            <a:pPr marL="342900" indent="-342900">
              <a:spcBef>
                <a:spcPts val="0"/>
              </a:spcBef>
              <a:buFont typeface="Arial" panose="020B0604020202020204" pitchFamily="34" charset="0"/>
              <a:buChar char="•"/>
            </a:pPr>
            <a:r>
              <a:rPr lang="en-CA" sz="1800" dirty="0">
                <a:latin typeface="Calibri"/>
                <a:ea typeface="Calibri"/>
                <a:cs typeface="Times New Roman"/>
              </a:rPr>
              <a:t>A compassionate leader genuinely cares for their team and empathizes with their emotions and struggles. They show understanding and support while being optimistic about the future. </a:t>
            </a:r>
            <a:endParaRPr lang="en-CA" dirty="0"/>
          </a:p>
          <a:p>
            <a:pPr marL="342900" indent="-342900">
              <a:spcBef>
                <a:spcPts val="0"/>
              </a:spcBef>
              <a:buFont typeface="Arial" panose="020B0604020202020204" pitchFamily="34" charset="0"/>
              <a:buChar char="•"/>
            </a:pPr>
            <a:r>
              <a:rPr lang="en-CA" sz="1800" dirty="0">
                <a:latin typeface="Calibri"/>
                <a:ea typeface="Calibri"/>
                <a:cs typeface="Times New Roman"/>
              </a:rPr>
              <a:t>A graceful leader handles difficult situations with poise and dignity and can easily adapt to unexpected events.</a:t>
            </a:r>
          </a:p>
          <a:p>
            <a:pPr marL="342900" indent="-342900">
              <a:spcBef>
                <a:spcPts val="0"/>
              </a:spcBef>
              <a:buFont typeface="Arial" panose="020B0604020202020204" pitchFamily="34" charset="0"/>
              <a:buChar char="•"/>
            </a:pPr>
            <a:r>
              <a:rPr lang="en-CA" sz="1800" dirty="0">
                <a:latin typeface="Calibri"/>
                <a:ea typeface="Calibri"/>
                <a:cs typeface="Times New Roman"/>
              </a:rPr>
              <a:t>Reflect on your own difficult passage through the Change Curve (either this change or another) when dealing with your employees and let this be a source of empathy</a:t>
            </a:r>
          </a:p>
        </p:txBody>
      </p:sp>
    </p:spTree>
    <p:extLst>
      <p:ext uri="{BB962C8B-B14F-4D97-AF65-F5344CB8AC3E}">
        <p14:creationId xmlns:p14="http://schemas.microsoft.com/office/powerpoint/2010/main" val="2912528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C0DFEF"/>
        </a:solidFill>
        <a:effectLst/>
      </p:bgPr>
    </p:bg>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0EAACD6-B4F1-8DE4-7C32-D9BA09515897}"/>
              </a:ext>
            </a:extLst>
          </p:cNvPr>
          <p:cNvSpPr txBox="1">
            <a:spLocks noGrp="1"/>
          </p:cNvSpPr>
          <p:nvPr>
            <p:ph type="title" idx="4294967295"/>
          </p:nvPr>
        </p:nvSpPr>
        <p:spPr>
          <a:xfrm>
            <a:off x="298580" y="514969"/>
            <a:ext cx="928480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rPr>
              <a:t>How to use this document</a:t>
            </a:r>
          </a:p>
        </p:txBody>
      </p:sp>
      <p:sp>
        <p:nvSpPr>
          <p:cNvPr id="6" name="TextBox 5">
            <a:extLst>
              <a:ext uri="{FF2B5EF4-FFF2-40B4-BE49-F238E27FC236}">
                <a16:creationId xmlns:a16="http://schemas.microsoft.com/office/drawing/2014/main" id="{E721DAC6-2C79-1360-C798-8A813E90139B}"/>
              </a:ext>
            </a:extLst>
          </p:cNvPr>
          <p:cNvSpPr txBox="1"/>
          <p:nvPr/>
        </p:nvSpPr>
        <p:spPr>
          <a:xfrm>
            <a:off x="593651" y="1451247"/>
            <a:ext cx="11021175" cy="2585323"/>
          </a:xfrm>
          <a:prstGeom prst="rect">
            <a:avLst/>
          </a:prstGeom>
          <a:noFill/>
        </p:spPr>
        <p:txBody>
          <a:bodyPr wrap="square">
            <a:spAutoFit/>
          </a:bodyPr>
          <a:lstStyle/>
          <a:p>
            <a:r>
              <a:rPr lang="en-CA"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VE and FOR WHO: </a:t>
            </a:r>
            <a:r>
              <a:rPr lang="en-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To present managers and supervisors in an organization to help them understand their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role in a transition to the optimized workplace. </a:t>
            </a:r>
            <a:r>
              <a:rPr lang="en-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May also be shared as a deck among them. </a:t>
            </a: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r>
              <a:rPr lang="en-CA" b="1" dirty="0">
                <a:latin typeface="Calibri Light" panose="020F0302020204030204" pitchFamily="34" charset="0"/>
                <a:ea typeface="Calibri Light" panose="020F0302020204030204" pitchFamily="34" charset="0"/>
                <a:cs typeface="Calibri Light" panose="020F0302020204030204" pitchFamily="34" charset="0"/>
              </a:rPr>
              <a:t>WHEN: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As early as possible, following the presentation to leadership.</a:t>
            </a:r>
            <a:endParaRPr lang="en-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endParaRP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r>
              <a:rPr lang="en-CA" b="1" dirty="0">
                <a:latin typeface="Calibri Light" panose="020F0302020204030204" pitchFamily="34" charset="0"/>
                <a:ea typeface="Calibri Light" panose="020F0302020204030204" pitchFamily="34" charset="0"/>
                <a:cs typeface="Calibri Light" panose="020F0302020204030204" pitchFamily="34" charset="0"/>
              </a:rPr>
              <a:t>HOW: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a:rPr>
              <a:t>Presented by project sponsor at executive committees, or forums. It is critical that this be presented by an executive, ideally the executive sponsor. </a:t>
            </a:r>
            <a:endParaRPr lang="en-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endParaRPr>
          </a:p>
          <a:p>
            <a:endParaRPr lang="en-CA" dirty="0">
              <a:latin typeface="Calibri Light" panose="020F0302020204030204" pitchFamily="34" charset="0"/>
              <a:ea typeface="Calibri Light" panose="020F0302020204030204" pitchFamily="34" charset="0"/>
              <a:cs typeface="Calibri Light" panose="020F0302020204030204" pitchFamily="34" charset="0"/>
            </a:endParaRPr>
          </a:p>
          <a:p>
            <a:r>
              <a:rPr lang="en-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a:t>
            </a:r>
            <a:r>
              <a:rPr lang="fr-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a:t>
            </a:r>
            <a:r>
              <a:rPr lang="fr-CA"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FR version</a:t>
            </a:r>
            <a:endParaRPr lang="en-CA"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Google Shape;274;p2">
            <a:extLst>
              <a:ext uri="{FF2B5EF4-FFF2-40B4-BE49-F238E27FC236}">
                <a16:creationId xmlns:a16="http://schemas.microsoft.com/office/drawing/2014/main" id="{1BB55E0A-6F72-0999-0ACE-64DCC8775AAC}"/>
              </a:ext>
            </a:extLst>
          </p:cNvPr>
          <p:cNvSpPr txBox="1"/>
          <p:nvPr/>
        </p:nvSpPr>
        <p:spPr>
          <a:xfrm>
            <a:off x="4020104" y="145813"/>
            <a:ext cx="5267115" cy="369291"/>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CA" sz="1800" b="1" i="1">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923886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732E3F-0C57-7047-63C6-D6AD5EBDE382}"/>
              </a:ext>
            </a:extLst>
          </p:cNvPr>
          <p:cNvSpPr>
            <a:spLocks noGrp="1"/>
          </p:cNvSpPr>
          <p:nvPr>
            <p:ph type="title"/>
          </p:nvPr>
        </p:nvSpPr>
        <p:spPr/>
        <p:txBody>
          <a:bodyPr/>
          <a:lstStyle/>
          <a:p>
            <a:r>
              <a:rPr lang="en-CA" dirty="0"/>
              <a:t>Supporting Your Employees Through the Change Curve</a:t>
            </a:r>
          </a:p>
        </p:txBody>
      </p:sp>
      <p:sp>
        <p:nvSpPr>
          <p:cNvPr id="3" name="Flowchart: Off-page Connector 2">
            <a:extLst>
              <a:ext uri="{FF2B5EF4-FFF2-40B4-BE49-F238E27FC236}">
                <a16:creationId xmlns:a16="http://schemas.microsoft.com/office/drawing/2014/main" id="{F7F9C321-5045-FC17-DD16-3AF5F6E5AAB2}"/>
              </a:ext>
            </a:extLst>
          </p:cNvPr>
          <p:cNvSpPr/>
          <p:nvPr/>
        </p:nvSpPr>
        <p:spPr>
          <a:xfrm>
            <a:off x="508759" y="1639670"/>
            <a:ext cx="11081386" cy="353665"/>
          </a:xfrm>
          <a:prstGeom prst="flowChartOffpageConnector">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An employee is in denial</a:t>
            </a:r>
            <a:endParaRPr lang="en-CA" sz="1600" dirty="0">
              <a:solidFill>
                <a:schemeClr val="tx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FB4D97CD-4E3A-8D73-6C78-0E130C8F9229}"/>
              </a:ext>
            </a:extLst>
          </p:cNvPr>
          <p:cNvSpPr txBox="1"/>
          <p:nvPr/>
        </p:nvSpPr>
        <p:spPr>
          <a:xfrm>
            <a:off x="508759" y="2080749"/>
            <a:ext cx="11081386"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t>Listen, ask questions and explain the how and why of the change</a:t>
            </a:r>
          </a:p>
          <a:p>
            <a:pPr marL="285750" indent="-285750">
              <a:buFont typeface="Arial" panose="020B0604020202020204" pitchFamily="34" charset="0"/>
              <a:buChar char="•"/>
            </a:pPr>
            <a:r>
              <a:rPr lang="en-US" sz="1400" dirty="0"/>
              <a:t>Emphasize the importance of transition and encourage them to take the time they need</a:t>
            </a:r>
          </a:p>
        </p:txBody>
      </p:sp>
      <p:sp>
        <p:nvSpPr>
          <p:cNvPr id="5" name="Flowchart: Off-page Connector 4">
            <a:extLst>
              <a:ext uri="{FF2B5EF4-FFF2-40B4-BE49-F238E27FC236}">
                <a16:creationId xmlns:a16="http://schemas.microsoft.com/office/drawing/2014/main" id="{35521651-F690-5D7A-EC35-650FCBE5BE26}"/>
              </a:ext>
            </a:extLst>
          </p:cNvPr>
          <p:cNvSpPr/>
          <p:nvPr/>
        </p:nvSpPr>
        <p:spPr>
          <a:xfrm>
            <a:off x="508759" y="2814050"/>
            <a:ext cx="11081386" cy="353665"/>
          </a:xfrm>
          <a:prstGeom prst="flowChartOffpage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An employee is frustrated or depressed</a:t>
            </a:r>
            <a:endParaRPr lang="en-CA" sz="1600" dirty="0">
              <a:solidFill>
                <a:schemeClr val="bg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2E6727D-6C14-1EB8-AA24-DDFF078476B3}"/>
              </a:ext>
            </a:extLst>
          </p:cNvPr>
          <p:cNvSpPr txBox="1"/>
          <p:nvPr/>
        </p:nvSpPr>
        <p:spPr>
          <a:xfrm>
            <a:off x="508759" y="3183211"/>
            <a:ext cx="11081386"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t>Gather resources, ask the project team for help</a:t>
            </a:r>
          </a:p>
          <a:p>
            <a:pPr marL="285750" indent="-285750">
              <a:buFont typeface="Arial" panose="020B0604020202020204" pitchFamily="34" charset="0"/>
              <a:buChar char="•"/>
            </a:pPr>
            <a:r>
              <a:rPr lang="en-US" sz="1400" dirty="0"/>
              <a:t>Remain empathetic but be confident in a positive change outcome</a:t>
            </a:r>
          </a:p>
        </p:txBody>
      </p:sp>
      <p:sp>
        <p:nvSpPr>
          <p:cNvPr id="7" name="Flowchart: Off-page Connector 6">
            <a:extLst>
              <a:ext uri="{FF2B5EF4-FFF2-40B4-BE49-F238E27FC236}">
                <a16:creationId xmlns:a16="http://schemas.microsoft.com/office/drawing/2014/main" id="{8863DCB0-B132-7181-30DE-FAD1B0C0DDF6}"/>
              </a:ext>
            </a:extLst>
          </p:cNvPr>
          <p:cNvSpPr/>
          <p:nvPr/>
        </p:nvSpPr>
        <p:spPr>
          <a:xfrm>
            <a:off x="508759" y="3937371"/>
            <a:ext cx="11081386" cy="353665"/>
          </a:xfrm>
          <a:prstGeom prst="flowChartOffpage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An employee is experimenting</a:t>
            </a:r>
            <a:endParaRPr lang="en-CA" sz="1600" dirty="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947E9467-6EE6-FBB6-D209-9337B224B714}"/>
              </a:ext>
            </a:extLst>
          </p:cNvPr>
          <p:cNvSpPr txBox="1"/>
          <p:nvPr/>
        </p:nvSpPr>
        <p:spPr>
          <a:xfrm>
            <a:off x="508759" y="4306532"/>
            <a:ext cx="11081386"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t>Provide training resources and reading material</a:t>
            </a:r>
          </a:p>
          <a:p>
            <a:pPr marL="285750" indent="-285750">
              <a:buFont typeface="Arial" panose="020B0604020202020204" pitchFamily="34" charset="0"/>
              <a:buChar char="•"/>
            </a:pPr>
            <a:r>
              <a:rPr lang="en-US" sz="1400" dirty="0"/>
              <a:t>Hold regular team meetings and invite them to share their excitement with others</a:t>
            </a:r>
          </a:p>
        </p:txBody>
      </p:sp>
      <p:sp>
        <p:nvSpPr>
          <p:cNvPr id="9" name="Flowchart: Off-page Connector 8">
            <a:extLst>
              <a:ext uri="{FF2B5EF4-FFF2-40B4-BE49-F238E27FC236}">
                <a16:creationId xmlns:a16="http://schemas.microsoft.com/office/drawing/2014/main" id="{9FB2266D-787A-60E8-67B4-EC9D1650C40D}"/>
              </a:ext>
            </a:extLst>
          </p:cNvPr>
          <p:cNvSpPr/>
          <p:nvPr/>
        </p:nvSpPr>
        <p:spPr>
          <a:xfrm>
            <a:off x="508759" y="5060692"/>
            <a:ext cx="11081386" cy="353665"/>
          </a:xfrm>
          <a:prstGeom prst="flowChartOffpage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An employee is decided or integrated</a:t>
            </a:r>
            <a:endParaRPr lang="en-CA" sz="1600" dirty="0">
              <a:solidFill>
                <a:schemeClr val="bg1"/>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FFCF80D2-D173-6A12-3CB2-EEFA7D2F0280}"/>
              </a:ext>
            </a:extLst>
          </p:cNvPr>
          <p:cNvSpPr txBox="1"/>
          <p:nvPr/>
        </p:nvSpPr>
        <p:spPr>
          <a:xfrm>
            <a:off x="508759" y="5429852"/>
            <a:ext cx="11081386"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t>Create opportunities for discussion and collaboration, invite all employees to events related to the change</a:t>
            </a:r>
          </a:p>
          <a:p>
            <a:pPr marL="285750" indent="-285750">
              <a:buFont typeface="Arial" panose="020B0604020202020204" pitchFamily="34" charset="0"/>
              <a:buChar char="•"/>
            </a:pPr>
            <a:r>
              <a:rPr lang="en-US" sz="1400" dirty="0"/>
              <a:t>Explore ways to improve the transition for others</a:t>
            </a:r>
          </a:p>
        </p:txBody>
      </p:sp>
    </p:spTree>
    <p:extLst>
      <p:ext uri="{BB962C8B-B14F-4D97-AF65-F5344CB8AC3E}">
        <p14:creationId xmlns:p14="http://schemas.microsoft.com/office/powerpoint/2010/main" val="16506867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8A90E-B601-4187-911F-105639F10A47}"/>
              </a:ext>
            </a:extLst>
          </p:cNvPr>
          <p:cNvSpPr>
            <a:spLocks noGrp="1"/>
          </p:cNvSpPr>
          <p:nvPr>
            <p:ph type="title"/>
          </p:nvPr>
        </p:nvSpPr>
        <p:spPr/>
        <p:txBody>
          <a:bodyPr/>
          <a:lstStyle/>
          <a:p>
            <a:r>
              <a:rPr lang="en-US" dirty="0"/>
              <a:t>Supporting Employees</a:t>
            </a:r>
            <a:endParaRPr lang="en-CA" dirty="0"/>
          </a:p>
        </p:txBody>
      </p:sp>
      <p:sp>
        <p:nvSpPr>
          <p:cNvPr id="7" name="TextBox 6">
            <a:extLst>
              <a:ext uri="{FF2B5EF4-FFF2-40B4-BE49-F238E27FC236}">
                <a16:creationId xmlns:a16="http://schemas.microsoft.com/office/drawing/2014/main" id="{9C51F60B-98E4-4F1B-BEDC-8E724CCD5EA0}"/>
              </a:ext>
            </a:extLst>
          </p:cNvPr>
          <p:cNvSpPr txBox="1"/>
          <p:nvPr/>
        </p:nvSpPr>
        <p:spPr>
          <a:xfrm>
            <a:off x="722379" y="1454150"/>
            <a:ext cx="6226145" cy="4226798"/>
          </a:xfrm>
          <a:prstGeom prst="rect">
            <a:avLst/>
          </a:prstGeom>
          <a:noFill/>
        </p:spPr>
        <p:txBody>
          <a:bodyPr wrap="square" rtlCol="0">
            <a:spAutoFit/>
          </a:bodyPr>
          <a:lstStyle/>
          <a:p>
            <a:pPr>
              <a:spcAft>
                <a:spcPts val="600"/>
              </a:spcAft>
            </a:pPr>
            <a:r>
              <a:rPr lang="en-US" sz="1400" dirty="0">
                <a:latin typeface="Arial" panose="020B0604020202020204" pitchFamily="34" charset="0"/>
                <a:cs typeface="Arial" panose="020B0604020202020204" pitchFamily="34" charset="0"/>
              </a:rPr>
              <a:t>Supporting your team through change can feel like an overwhelming task, especially when the reality of the change is higher than expected. Here are 8 basic tips that can assist you in supporting your team:</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Establish trust: </a:t>
            </a:r>
            <a:r>
              <a:rPr lang="en-US" sz="1400" dirty="0">
                <a:latin typeface="Arial" panose="020B0604020202020204" pitchFamily="34" charset="0"/>
                <a:cs typeface="Arial" panose="020B0604020202020204" pitchFamily="34" charset="0"/>
              </a:rPr>
              <a:t>create a safe and respectful place to share.</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Frequent check-ins: </a:t>
            </a:r>
            <a:r>
              <a:rPr lang="en-US" sz="1400" dirty="0">
                <a:latin typeface="Arial" panose="020B0604020202020204" pitchFamily="34" charset="0"/>
                <a:cs typeface="Arial" panose="020B0604020202020204" pitchFamily="34" charset="0"/>
              </a:rPr>
              <a:t>set-up times to discuss the change with individuals both formally and informally, as well as a team.</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Transparency: </a:t>
            </a:r>
            <a:r>
              <a:rPr lang="en-US" sz="1400" dirty="0">
                <a:latin typeface="Arial" panose="020B0604020202020204" pitchFamily="34" charset="0"/>
                <a:cs typeface="Arial" panose="020B0604020202020204" pitchFamily="34" charset="0"/>
              </a:rPr>
              <a:t>speak to facts and be honest when you don’t know the answer. Support employees through solutioning. </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Social Interaction: </a:t>
            </a:r>
            <a:r>
              <a:rPr lang="en-US" sz="1400" dirty="0">
                <a:latin typeface="Arial" panose="020B0604020202020204" pitchFamily="34" charset="0"/>
                <a:cs typeface="Arial" panose="020B0604020202020204" pitchFamily="34" charset="0"/>
              </a:rPr>
              <a:t>combat anxieties and fears with engaging activities between team members.</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Rules of engagement: </a:t>
            </a:r>
            <a:r>
              <a:rPr lang="en-US" sz="1400" dirty="0">
                <a:latin typeface="Arial" panose="020B0604020202020204" pitchFamily="34" charset="0"/>
                <a:cs typeface="Arial" panose="020B0604020202020204" pitchFamily="34" charset="0"/>
              </a:rPr>
              <a:t>use the correct tools and platforms when communicating and engaging. </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Empathy: </a:t>
            </a:r>
            <a:r>
              <a:rPr lang="en-US" sz="1400" dirty="0">
                <a:latin typeface="Arial" panose="020B0604020202020204" pitchFamily="34" charset="0"/>
                <a:cs typeface="Arial" panose="020B0604020202020204" pitchFamily="34" charset="0"/>
              </a:rPr>
              <a:t>understand the needs of others and be in tune with diversity and inclusivity challenges. </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Be Intentional: </a:t>
            </a:r>
            <a:r>
              <a:rPr lang="en-US" sz="1400" dirty="0">
                <a:latin typeface="Arial" panose="020B0604020202020204" pitchFamily="34" charset="0"/>
                <a:cs typeface="Arial" panose="020B0604020202020204" pitchFamily="34" charset="0"/>
              </a:rPr>
              <a:t>make good use of time, be clear and leverage all resources. </a:t>
            </a:r>
          </a:p>
          <a:p>
            <a:pPr marL="342900" indent="-342900">
              <a:spcAft>
                <a:spcPts val="200"/>
              </a:spcAft>
              <a:buAutoNum type="arabicPeriod"/>
            </a:pPr>
            <a:r>
              <a:rPr lang="en-US" sz="1400" b="1" dirty="0">
                <a:latin typeface="Arial" panose="020B0604020202020204" pitchFamily="34" charset="0"/>
                <a:cs typeface="Arial" panose="020B0604020202020204" pitchFamily="34" charset="0"/>
              </a:rPr>
              <a:t>Recognition and praise: </a:t>
            </a:r>
            <a:r>
              <a:rPr lang="en-US" sz="1400" dirty="0">
                <a:latin typeface="Arial" panose="020B0604020202020204" pitchFamily="34" charset="0"/>
                <a:cs typeface="Arial" panose="020B0604020202020204" pitchFamily="34" charset="0"/>
              </a:rPr>
              <a:t>celebrate small wins for all employees, regardless of their rate of adoption. </a:t>
            </a:r>
          </a:p>
        </p:txBody>
      </p:sp>
      <p:sp>
        <p:nvSpPr>
          <p:cNvPr id="16" name="TextBox 15">
            <a:extLst>
              <a:ext uri="{FF2B5EF4-FFF2-40B4-BE49-F238E27FC236}">
                <a16:creationId xmlns:a16="http://schemas.microsoft.com/office/drawing/2014/main" id="{A96611CA-404C-4F6F-87DE-75BA16D4C8C6}"/>
              </a:ext>
            </a:extLst>
          </p:cNvPr>
          <p:cNvSpPr txBox="1"/>
          <p:nvPr/>
        </p:nvSpPr>
        <p:spPr>
          <a:xfrm>
            <a:off x="7701464" y="1389753"/>
            <a:ext cx="3060700" cy="369332"/>
          </a:xfrm>
          <a:prstGeom prst="rect">
            <a:avLst/>
          </a:prstGeom>
          <a:noFill/>
        </p:spPr>
        <p:txBody>
          <a:bodyPr wrap="square" rtlCol="0">
            <a:spAutoFit/>
          </a:bodyPr>
          <a:lstStyle/>
          <a:p>
            <a:pPr algn="ctr"/>
            <a:r>
              <a:rPr lang="en-US" b="1" i="1" dirty="0">
                <a:latin typeface="Arial" panose="020B0604020202020204" pitchFamily="34" charset="0"/>
                <a:cs typeface="Arial" panose="020B0604020202020204" pitchFamily="34" charset="0"/>
              </a:rPr>
              <a:t>The Building Blocks</a:t>
            </a:r>
            <a:endParaRPr lang="en-CA" b="1" i="1" dirty="0">
              <a:latin typeface="Arial" panose="020B0604020202020204" pitchFamily="34" charset="0"/>
              <a:cs typeface="Arial" panose="020B0604020202020204" pitchFamily="34" charset="0"/>
            </a:endParaRPr>
          </a:p>
        </p:txBody>
      </p:sp>
      <p:sp>
        <p:nvSpPr>
          <p:cNvPr id="8" name="Hexagon 7">
            <a:extLst>
              <a:ext uri="{FF2B5EF4-FFF2-40B4-BE49-F238E27FC236}">
                <a16:creationId xmlns:a16="http://schemas.microsoft.com/office/drawing/2014/main" id="{DDD0E335-B4FA-440D-A658-F0EDCDED0EF7}"/>
              </a:ext>
            </a:extLst>
          </p:cNvPr>
          <p:cNvSpPr/>
          <p:nvPr/>
        </p:nvSpPr>
        <p:spPr>
          <a:xfrm>
            <a:off x="7101859" y="1899506"/>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Establish Trust</a:t>
            </a:r>
            <a:endParaRPr lang="en-CA" sz="1200" dirty="0">
              <a:solidFill>
                <a:schemeClr val="tx1"/>
              </a:solidFill>
              <a:latin typeface="Arial" panose="020B0604020202020204" pitchFamily="34" charset="0"/>
              <a:cs typeface="Arial" panose="020B0604020202020204" pitchFamily="34" charset="0"/>
            </a:endParaRPr>
          </a:p>
        </p:txBody>
      </p:sp>
      <p:sp>
        <p:nvSpPr>
          <p:cNvPr id="9" name="Hexagon 8">
            <a:extLst>
              <a:ext uri="{FF2B5EF4-FFF2-40B4-BE49-F238E27FC236}">
                <a16:creationId xmlns:a16="http://schemas.microsoft.com/office/drawing/2014/main" id="{0C0AE40D-3647-4DB6-A7C3-B7EA2C3FB88B}"/>
              </a:ext>
            </a:extLst>
          </p:cNvPr>
          <p:cNvSpPr/>
          <p:nvPr/>
        </p:nvSpPr>
        <p:spPr>
          <a:xfrm>
            <a:off x="8421206" y="2628774"/>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rial" panose="020B0604020202020204" pitchFamily="34" charset="0"/>
                <a:cs typeface="Arial" panose="020B0604020202020204" pitchFamily="34" charset="0"/>
              </a:rPr>
              <a:t>Frequent Check-ins</a:t>
            </a:r>
            <a:endParaRPr lang="en-CA" sz="1200" dirty="0">
              <a:solidFill>
                <a:schemeClr val="bg1"/>
              </a:solidFill>
              <a:latin typeface="Arial" panose="020B0604020202020204" pitchFamily="34" charset="0"/>
              <a:cs typeface="Arial" panose="020B0604020202020204" pitchFamily="34" charset="0"/>
            </a:endParaRPr>
          </a:p>
        </p:txBody>
      </p:sp>
      <p:sp>
        <p:nvSpPr>
          <p:cNvPr id="10" name="Hexagon 9">
            <a:extLst>
              <a:ext uri="{FF2B5EF4-FFF2-40B4-BE49-F238E27FC236}">
                <a16:creationId xmlns:a16="http://schemas.microsoft.com/office/drawing/2014/main" id="{462E96BE-D95C-4368-9D99-D19FDF6C7E6F}"/>
              </a:ext>
            </a:extLst>
          </p:cNvPr>
          <p:cNvSpPr/>
          <p:nvPr/>
        </p:nvSpPr>
        <p:spPr>
          <a:xfrm>
            <a:off x="9757971" y="1904460"/>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Transparency</a:t>
            </a:r>
            <a:endParaRPr lang="en-CA" sz="1200" dirty="0">
              <a:solidFill>
                <a:schemeClr val="tx1"/>
              </a:solidFill>
              <a:latin typeface="Arial" panose="020B0604020202020204" pitchFamily="34" charset="0"/>
              <a:cs typeface="Arial" panose="020B0604020202020204" pitchFamily="34" charset="0"/>
            </a:endParaRPr>
          </a:p>
        </p:txBody>
      </p:sp>
      <p:sp>
        <p:nvSpPr>
          <p:cNvPr id="11" name="Hexagon 10">
            <a:extLst>
              <a:ext uri="{FF2B5EF4-FFF2-40B4-BE49-F238E27FC236}">
                <a16:creationId xmlns:a16="http://schemas.microsoft.com/office/drawing/2014/main" id="{C936AAC1-0E8C-4B8B-BBB7-50C4B306218F}"/>
              </a:ext>
            </a:extLst>
          </p:cNvPr>
          <p:cNvSpPr/>
          <p:nvPr/>
        </p:nvSpPr>
        <p:spPr>
          <a:xfrm>
            <a:off x="9757971" y="3368853"/>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Rules of Engagement</a:t>
            </a:r>
            <a:endParaRPr lang="en-CA" sz="1200" dirty="0">
              <a:solidFill>
                <a:schemeClr val="tx1"/>
              </a:solidFill>
              <a:latin typeface="Arial" panose="020B0604020202020204" pitchFamily="34" charset="0"/>
              <a:cs typeface="Arial" panose="020B0604020202020204" pitchFamily="34" charset="0"/>
            </a:endParaRPr>
          </a:p>
        </p:txBody>
      </p:sp>
      <p:sp>
        <p:nvSpPr>
          <p:cNvPr id="12" name="Hexagon 11">
            <a:extLst>
              <a:ext uri="{FF2B5EF4-FFF2-40B4-BE49-F238E27FC236}">
                <a16:creationId xmlns:a16="http://schemas.microsoft.com/office/drawing/2014/main" id="{768E2937-C90C-43CD-B651-292BEE8961B6}"/>
              </a:ext>
            </a:extLst>
          </p:cNvPr>
          <p:cNvSpPr/>
          <p:nvPr/>
        </p:nvSpPr>
        <p:spPr>
          <a:xfrm>
            <a:off x="8421206" y="4104729"/>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Empathy</a:t>
            </a:r>
            <a:endParaRPr lang="en-CA" sz="1200" dirty="0">
              <a:solidFill>
                <a:schemeClr val="tx1"/>
              </a:solidFill>
              <a:latin typeface="Arial" panose="020B0604020202020204" pitchFamily="34" charset="0"/>
              <a:cs typeface="Arial" panose="020B0604020202020204" pitchFamily="34" charset="0"/>
            </a:endParaRPr>
          </a:p>
        </p:txBody>
      </p:sp>
      <p:sp>
        <p:nvSpPr>
          <p:cNvPr id="15" name="Hexagon 14">
            <a:extLst>
              <a:ext uri="{FF2B5EF4-FFF2-40B4-BE49-F238E27FC236}">
                <a16:creationId xmlns:a16="http://schemas.microsoft.com/office/drawing/2014/main" id="{9A3A061C-850C-4E9F-B5E6-9403F5FEBBA4}"/>
              </a:ext>
            </a:extLst>
          </p:cNvPr>
          <p:cNvSpPr/>
          <p:nvPr/>
        </p:nvSpPr>
        <p:spPr>
          <a:xfrm>
            <a:off x="7101165" y="3368853"/>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Social Interaction</a:t>
            </a:r>
            <a:endParaRPr lang="en-CA" sz="1200" dirty="0">
              <a:solidFill>
                <a:schemeClr val="tx1"/>
              </a:solidFill>
              <a:latin typeface="Arial" panose="020B0604020202020204" pitchFamily="34" charset="0"/>
              <a:cs typeface="Arial" panose="020B0604020202020204" pitchFamily="34" charset="0"/>
            </a:endParaRPr>
          </a:p>
        </p:txBody>
      </p:sp>
      <p:sp>
        <p:nvSpPr>
          <p:cNvPr id="13" name="Hexagon 12">
            <a:extLst>
              <a:ext uri="{FF2B5EF4-FFF2-40B4-BE49-F238E27FC236}">
                <a16:creationId xmlns:a16="http://schemas.microsoft.com/office/drawing/2014/main" id="{ABA0F2AF-C36C-476C-B45D-B07FDD564968}"/>
              </a:ext>
            </a:extLst>
          </p:cNvPr>
          <p:cNvSpPr/>
          <p:nvPr/>
        </p:nvSpPr>
        <p:spPr>
          <a:xfrm>
            <a:off x="7101165" y="4829799"/>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Recognition and Praise</a:t>
            </a:r>
            <a:endParaRPr lang="en-CA" sz="1200" dirty="0">
              <a:solidFill>
                <a:schemeClr val="tx1"/>
              </a:solidFill>
              <a:latin typeface="Arial" panose="020B0604020202020204" pitchFamily="34" charset="0"/>
              <a:cs typeface="Arial" panose="020B0604020202020204" pitchFamily="34" charset="0"/>
            </a:endParaRPr>
          </a:p>
        </p:txBody>
      </p:sp>
      <p:sp>
        <p:nvSpPr>
          <p:cNvPr id="14" name="Hexagon 13">
            <a:extLst>
              <a:ext uri="{FF2B5EF4-FFF2-40B4-BE49-F238E27FC236}">
                <a16:creationId xmlns:a16="http://schemas.microsoft.com/office/drawing/2014/main" id="{FDCB255D-C5FE-4127-BC5C-CCA41CF61F68}"/>
              </a:ext>
            </a:extLst>
          </p:cNvPr>
          <p:cNvSpPr/>
          <p:nvPr/>
        </p:nvSpPr>
        <p:spPr>
          <a:xfrm>
            <a:off x="9757971" y="4838952"/>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rial" panose="020B0604020202020204" pitchFamily="34" charset="0"/>
                <a:cs typeface="Arial" panose="020B0604020202020204" pitchFamily="34" charset="0"/>
              </a:rPr>
              <a:t>Being Intentional</a:t>
            </a:r>
            <a:endParaRPr lang="en-CA" sz="1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98307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84292-B564-42A1-87E0-C35F7892D6D3}"/>
              </a:ext>
            </a:extLst>
          </p:cNvPr>
          <p:cNvSpPr>
            <a:spLocks noGrp="1"/>
          </p:cNvSpPr>
          <p:nvPr>
            <p:ph type="title"/>
          </p:nvPr>
        </p:nvSpPr>
        <p:spPr/>
        <p:txBody>
          <a:bodyPr/>
          <a:lstStyle/>
          <a:p>
            <a:r>
              <a:rPr lang="en-US" dirty="0" err="1"/>
              <a:t>Equiping</a:t>
            </a:r>
            <a:r>
              <a:rPr lang="en-US" dirty="0"/>
              <a:t> Yourself to Succeed</a:t>
            </a:r>
            <a:endParaRPr lang="en-CA" dirty="0"/>
          </a:p>
        </p:txBody>
      </p:sp>
      <p:grpSp>
        <p:nvGrpSpPr>
          <p:cNvPr id="95" name="Group 94" descr="Chart with ''you'' in the middle, splitting up in 4 categories : Attend, Plan, Anticipate, and Review, which all include ways to achieve these. ">
            <a:extLst>
              <a:ext uri="{FF2B5EF4-FFF2-40B4-BE49-F238E27FC236}">
                <a16:creationId xmlns:a16="http://schemas.microsoft.com/office/drawing/2014/main" id="{75ED06EC-ACE2-45AA-9474-A44684B0749A}"/>
              </a:ext>
            </a:extLst>
          </p:cNvPr>
          <p:cNvGrpSpPr/>
          <p:nvPr/>
        </p:nvGrpSpPr>
        <p:grpSpPr>
          <a:xfrm>
            <a:off x="753699" y="1473126"/>
            <a:ext cx="10808980" cy="4900027"/>
            <a:chOff x="819862" y="1400812"/>
            <a:chExt cx="10808980" cy="4900027"/>
          </a:xfrm>
        </p:grpSpPr>
        <p:cxnSp>
          <p:nvCxnSpPr>
            <p:cNvPr id="22" name="Straight Connector 21">
              <a:extLst>
                <a:ext uri="{FF2B5EF4-FFF2-40B4-BE49-F238E27FC236}">
                  <a16:creationId xmlns:a16="http://schemas.microsoft.com/office/drawing/2014/main" id="{0AAF9BE2-E292-4B99-8604-3FEA1285D861}"/>
                </a:ext>
              </a:extLst>
            </p:cNvPr>
            <p:cNvCxnSpPr>
              <a:cxnSpLocks/>
              <a:stCxn id="3" idx="1"/>
            </p:cNvCxnSpPr>
            <p:nvPr/>
          </p:nvCxnSpPr>
          <p:spPr>
            <a:xfrm flipH="1" flipV="1">
              <a:off x="4999893" y="2969299"/>
              <a:ext cx="477906" cy="26676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1F3A06C-C98D-44F6-BB55-A3E3C8D3BE14}"/>
                </a:ext>
              </a:extLst>
            </p:cNvPr>
            <p:cNvCxnSpPr>
              <a:cxnSpLocks/>
              <a:stCxn id="3" idx="7"/>
            </p:cNvCxnSpPr>
            <p:nvPr/>
          </p:nvCxnSpPr>
          <p:spPr>
            <a:xfrm flipV="1">
              <a:off x="6577929" y="2994901"/>
              <a:ext cx="489411" cy="24115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40EC133-E111-474A-A837-CB5F69034959}"/>
                </a:ext>
              </a:extLst>
            </p:cNvPr>
            <p:cNvCxnSpPr>
              <a:cxnSpLocks/>
              <a:stCxn id="3" idx="3"/>
            </p:cNvCxnSpPr>
            <p:nvPr/>
          </p:nvCxnSpPr>
          <p:spPr>
            <a:xfrm flipH="1">
              <a:off x="4986427" y="3863099"/>
              <a:ext cx="491372" cy="36788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0438EFE-EF2D-4340-8909-5E31635F1E65}"/>
                </a:ext>
              </a:extLst>
            </p:cNvPr>
            <p:cNvCxnSpPr>
              <a:cxnSpLocks/>
              <a:stCxn id="3" idx="5"/>
            </p:cNvCxnSpPr>
            <p:nvPr/>
          </p:nvCxnSpPr>
          <p:spPr>
            <a:xfrm>
              <a:off x="6577929" y="3863099"/>
              <a:ext cx="592487" cy="432107"/>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E724524-15B1-4B11-A9F0-1A25CDB055F5}"/>
                </a:ext>
              </a:extLst>
            </p:cNvPr>
            <p:cNvCxnSpPr>
              <a:cxnSpLocks/>
              <a:stCxn id="6" idx="0"/>
              <a:endCxn id="12" idx="2"/>
            </p:cNvCxnSpPr>
            <p:nvPr/>
          </p:nvCxnSpPr>
          <p:spPr>
            <a:xfrm flipH="1" flipV="1">
              <a:off x="4080233" y="1963238"/>
              <a:ext cx="266519" cy="369172"/>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A08ACF9-E869-4E4A-8084-55DE24A363A9}"/>
                </a:ext>
              </a:extLst>
            </p:cNvPr>
            <p:cNvCxnSpPr>
              <a:cxnSpLocks/>
              <a:endCxn id="14" idx="3"/>
            </p:cNvCxnSpPr>
            <p:nvPr/>
          </p:nvCxnSpPr>
          <p:spPr>
            <a:xfrm flipH="1" flipV="1">
              <a:off x="2918293" y="2433787"/>
              <a:ext cx="878394" cy="181567"/>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B877085-0FEB-437A-B02D-D6F1AB12EBA8}"/>
                </a:ext>
              </a:extLst>
            </p:cNvPr>
            <p:cNvCxnSpPr>
              <a:cxnSpLocks/>
              <a:stCxn id="6" idx="3"/>
              <a:endCxn id="13" idx="3"/>
            </p:cNvCxnSpPr>
            <p:nvPr/>
          </p:nvCxnSpPr>
          <p:spPr>
            <a:xfrm flipH="1">
              <a:off x="3018777" y="3089313"/>
              <a:ext cx="777910" cy="45395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558360-52CD-4C6A-A769-7C3BCBE09B0A}"/>
                </a:ext>
              </a:extLst>
            </p:cNvPr>
            <p:cNvCxnSpPr>
              <a:cxnSpLocks/>
              <a:stCxn id="7" idx="2"/>
              <a:endCxn id="10" idx="3"/>
            </p:cNvCxnSpPr>
            <p:nvPr/>
          </p:nvCxnSpPr>
          <p:spPr>
            <a:xfrm flipH="1">
              <a:off x="2962757" y="4418165"/>
              <a:ext cx="606085" cy="92499"/>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A7A824-1496-479D-A7A2-28AAFD05CB1E}"/>
                </a:ext>
              </a:extLst>
            </p:cNvPr>
            <p:cNvCxnSpPr>
              <a:cxnSpLocks/>
              <a:stCxn id="7" idx="3"/>
              <a:endCxn id="9" idx="3"/>
            </p:cNvCxnSpPr>
            <p:nvPr/>
          </p:nvCxnSpPr>
          <p:spPr>
            <a:xfrm flipH="1">
              <a:off x="3125346" y="4731684"/>
              <a:ext cx="671341" cy="742030"/>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C9A0241-E804-4B41-8788-9468B032CB5E}"/>
                </a:ext>
              </a:extLst>
            </p:cNvPr>
            <p:cNvCxnSpPr>
              <a:cxnSpLocks/>
              <a:stCxn id="7" idx="4"/>
              <a:endCxn id="11" idx="0"/>
            </p:cNvCxnSpPr>
            <p:nvPr/>
          </p:nvCxnSpPr>
          <p:spPr>
            <a:xfrm flipH="1">
              <a:off x="4344239" y="4861548"/>
              <a:ext cx="2513" cy="919432"/>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915F21-8E91-4F33-BCCA-EEBE5F056168}"/>
                </a:ext>
              </a:extLst>
            </p:cNvPr>
            <p:cNvCxnSpPr>
              <a:cxnSpLocks/>
              <a:stCxn id="5" idx="4"/>
            </p:cNvCxnSpPr>
            <p:nvPr/>
          </p:nvCxnSpPr>
          <p:spPr>
            <a:xfrm>
              <a:off x="7720481" y="4861549"/>
              <a:ext cx="0" cy="724201"/>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B550355-11C0-42FC-A011-18A1858ACA34}"/>
                </a:ext>
              </a:extLst>
            </p:cNvPr>
            <p:cNvCxnSpPr>
              <a:stCxn id="5" idx="5"/>
            </p:cNvCxnSpPr>
            <p:nvPr/>
          </p:nvCxnSpPr>
          <p:spPr>
            <a:xfrm>
              <a:off x="8270546" y="4731685"/>
              <a:ext cx="633659" cy="589595"/>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C23ED8E-8FCC-4FC3-B632-791CB50D9A16}"/>
                </a:ext>
              </a:extLst>
            </p:cNvPr>
            <p:cNvCxnSpPr>
              <a:stCxn id="5" idx="6"/>
              <a:endCxn id="15" idx="1"/>
            </p:cNvCxnSpPr>
            <p:nvPr/>
          </p:nvCxnSpPr>
          <p:spPr>
            <a:xfrm>
              <a:off x="8498391" y="4418166"/>
              <a:ext cx="965857" cy="234585"/>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AC9AB1D-2FC8-4938-B4AF-3684D135CF94}"/>
                </a:ext>
              </a:extLst>
            </p:cNvPr>
            <p:cNvCxnSpPr>
              <a:stCxn id="4" idx="7"/>
            </p:cNvCxnSpPr>
            <p:nvPr/>
          </p:nvCxnSpPr>
          <p:spPr>
            <a:xfrm flipV="1">
              <a:off x="8270546" y="2115901"/>
              <a:ext cx="200214" cy="346373"/>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C3A5ADF-5F7A-48A0-8875-32838D048F4F}"/>
                </a:ext>
              </a:extLst>
            </p:cNvPr>
            <p:cNvCxnSpPr>
              <a:cxnSpLocks/>
              <a:endCxn id="19" idx="1"/>
            </p:cNvCxnSpPr>
            <p:nvPr/>
          </p:nvCxnSpPr>
          <p:spPr>
            <a:xfrm flipV="1">
              <a:off x="8470760" y="2225355"/>
              <a:ext cx="798087" cy="404227"/>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DB1D14A-BA5F-4AE9-99F9-16B16D9043F0}"/>
                </a:ext>
              </a:extLst>
            </p:cNvPr>
            <p:cNvCxnSpPr>
              <a:cxnSpLocks/>
              <a:stCxn id="4" idx="5"/>
              <a:endCxn id="20" idx="1"/>
            </p:cNvCxnSpPr>
            <p:nvPr/>
          </p:nvCxnSpPr>
          <p:spPr>
            <a:xfrm>
              <a:off x="8270546" y="3089313"/>
              <a:ext cx="592487" cy="237531"/>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1BE14FE4-A5A4-46E8-8932-A7EEEA14B718}"/>
                </a:ext>
              </a:extLst>
            </p:cNvPr>
            <p:cNvSpPr/>
            <p:nvPr/>
          </p:nvSpPr>
          <p:spPr>
            <a:xfrm>
              <a:off x="5249954" y="3106196"/>
              <a:ext cx="1555820" cy="88676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Arial" panose="020B0604020202020204" pitchFamily="34" charset="0"/>
                  <a:cs typeface="Arial" panose="020B0604020202020204" pitchFamily="34" charset="0"/>
                </a:rPr>
                <a:t>You</a:t>
              </a:r>
              <a:endParaRPr lang="en-CA" sz="2800" dirty="0">
                <a:solidFill>
                  <a:schemeClr val="tx1"/>
                </a:solidFill>
                <a:latin typeface="Arial" panose="020B0604020202020204" pitchFamily="34" charset="0"/>
                <a:cs typeface="Arial" panose="020B0604020202020204" pitchFamily="34" charset="0"/>
              </a:endParaRPr>
            </a:p>
          </p:txBody>
        </p:sp>
        <p:sp>
          <p:nvSpPr>
            <p:cNvPr id="4" name="Oval 3">
              <a:extLst>
                <a:ext uri="{FF2B5EF4-FFF2-40B4-BE49-F238E27FC236}">
                  <a16:creationId xmlns:a16="http://schemas.microsoft.com/office/drawing/2014/main" id="{23BD6127-51A4-4639-9311-475EA0DBC382}"/>
                </a:ext>
              </a:extLst>
            </p:cNvPr>
            <p:cNvSpPr/>
            <p:nvPr/>
          </p:nvSpPr>
          <p:spPr>
            <a:xfrm>
              <a:off x="6942571" y="2332410"/>
              <a:ext cx="1555820" cy="886767"/>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anose="020B0604020202020204" pitchFamily="34" charset="0"/>
                  <a:cs typeface="Arial" panose="020B0604020202020204" pitchFamily="34" charset="0"/>
                </a:rPr>
                <a:t>Review</a:t>
              </a:r>
              <a:endParaRPr lang="en-CA" sz="1400" dirty="0">
                <a:solidFill>
                  <a:schemeClr val="bg1"/>
                </a:solidFill>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25993ADE-C0E3-4A0D-8C69-B727FBA05803}"/>
                </a:ext>
              </a:extLst>
            </p:cNvPr>
            <p:cNvSpPr/>
            <p:nvPr/>
          </p:nvSpPr>
          <p:spPr>
            <a:xfrm>
              <a:off x="6942571" y="3974782"/>
              <a:ext cx="1555820" cy="88676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Anticipate</a:t>
              </a:r>
              <a:endParaRPr lang="en-CA" sz="1400" dirty="0">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514A5A59-28E4-4E25-8705-5578DBAE467E}"/>
                </a:ext>
              </a:extLst>
            </p:cNvPr>
            <p:cNvSpPr/>
            <p:nvPr/>
          </p:nvSpPr>
          <p:spPr>
            <a:xfrm>
              <a:off x="3568842" y="2332410"/>
              <a:ext cx="1555820" cy="88676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panose="020B0604020202020204" pitchFamily="34" charset="0"/>
                  <a:cs typeface="Arial" panose="020B0604020202020204" pitchFamily="34" charset="0"/>
                </a:rPr>
                <a:t>Attend</a:t>
              </a:r>
              <a:endParaRPr lang="en-CA" sz="1400" dirty="0">
                <a:latin typeface="Arial" panose="020B0604020202020204" pitchFamily="34" charset="0"/>
                <a:cs typeface="Arial" panose="020B0604020202020204" pitchFamily="34" charset="0"/>
              </a:endParaRPr>
            </a:p>
          </p:txBody>
        </p:sp>
        <p:sp>
          <p:nvSpPr>
            <p:cNvPr id="7" name="Oval 6">
              <a:extLst>
                <a:ext uri="{FF2B5EF4-FFF2-40B4-BE49-F238E27FC236}">
                  <a16:creationId xmlns:a16="http://schemas.microsoft.com/office/drawing/2014/main" id="{384DE798-7080-4C8D-8146-9E258C759A97}"/>
                </a:ext>
              </a:extLst>
            </p:cNvPr>
            <p:cNvSpPr/>
            <p:nvPr/>
          </p:nvSpPr>
          <p:spPr>
            <a:xfrm>
              <a:off x="3568842" y="3974781"/>
              <a:ext cx="1555820" cy="88676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bg1"/>
                  </a:solidFill>
                  <a:latin typeface="Arial" panose="020B0604020202020204" pitchFamily="34" charset="0"/>
                  <a:cs typeface="Arial" panose="020B0604020202020204" pitchFamily="34" charset="0"/>
                </a:rPr>
                <a:t>Plan</a:t>
              </a:r>
              <a:endParaRPr lang="en-CA" sz="1400" dirty="0">
                <a:solidFill>
                  <a:schemeClr val="bg1"/>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965725A6-16F0-4750-9A5B-70A2E7B126E8}"/>
                </a:ext>
              </a:extLst>
            </p:cNvPr>
            <p:cNvSpPr txBox="1"/>
            <p:nvPr/>
          </p:nvSpPr>
          <p:spPr>
            <a:xfrm>
              <a:off x="1376932" y="5116169"/>
              <a:ext cx="1748414" cy="715089"/>
            </a:xfrm>
            <a:prstGeom prst="roundRect">
              <a:avLst/>
            </a:prstGeom>
            <a:solidFill>
              <a:schemeClr val="accent2">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Establish a reoccurring team meeting</a:t>
              </a:r>
              <a:endParaRPr lang="en-CA" sz="1200"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FA62099A-5525-474C-8967-0E1126F9828B}"/>
                </a:ext>
              </a:extLst>
            </p:cNvPr>
            <p:cNvSpPr txBox="1"/>
            <p:nvPr/>
          </p:nvSpPr>
          <p:spPr>
            <a:xfrm>
              <a:off x="1214343" y="4255275"/>
              <a:ext cx="1748414" cy="510778"/>
            </a:xfrm>
            <a:prstGeom prst="roundRect">
              <a:avLst/>
            </a:prstGeom>
            <a:solidFill>
              <a:schemeClr val="accent2">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Establish team member touchpoints</a:t>
              </a:r>
              <a:endParaRPr lang="en-CA" sz="12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55E9A25A-A7FA-48FD-99C4-0BF7E01A129E}"/>
                </a:ext>
              </a:extLst>
            </p:cNvPr>
            <p:cNvSpPr txBox="1"/>
            <p:nvPr/>
          </p:nvSpPr>
          <p:spPr>
            <a:xfrm>
              <a:off x="3470032" y="5780980"/>
              <a:ext cx="1748414" cy="510778"/>
            </a:xfrm>
            <a:prstGeom prst="roundRect">
              <a:avLst/>
            </a:prstGeom>
            <a:solidFill>
              <a:schemeClr val="accent2">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Keep your team charters up to date</a:t>
              </a:r>
              <a:endParaRPr lang="en-CA" sz="1200"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0B889BA4-A29C-4881-B7BB-8F60827064B8}"/>
                </a:ext>
              </a:extLst>
            </p:cNvPr>
            <p:cNvSpPr txBox="1"/>
            <p:nvPr/>
          </p:nvSpPr>
          <p:spPr>
            <a:xfrm>
              <a:off x="3031017" y="1452460"/>
              <a:ext cx="2098431" cy="510778"/>
            </a:xfrm>
            <a:prstGeom prst="roundRect">
              <a:avLst/>
            </a:prstGeom>
            <a:solidFill>
              <a:schemeClr val="accent3">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Attend all project specific engagement activities</a:t>
              </a:r>
              <a:endParaRPr lang="en-CA" sz="12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D1C35FD5-5B2D-49DF-9B67-BF5D528B3F69}"/>
                </a:ext>
              </a:extLst>
            </p:cNvPr>
            <p:cNvSpPr txBox="1"/>
            <p:nvPr/>
          </p:nvSpPr>
          <p:spPr>
            <a:xfrm>
              <a:off x="920346" y="3185724"/>
              <a:ext cx="2098431" cy="715089"/>
            </a:xfrm>
            <a:prstGeom prst="roundRect">
              <a:avLst/>
            </a:prstGeom>
            <a:solidFill>
              <a:schemeClr val="accent3">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Participate and share in any information gathering activities</a:t>
              </a:r>
              <a:endParaRPr lang="en-CA" sz="12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20DF34DF-C007-47CC-9F55-9211A2853CAF}"/>
                </a:ext>
              </a:extLst>
            </p:cNvPr>
            <p:cNvSpPr txBox="1"/>
            <p:nvPr/>
          </p:nvSpPr>
          <p:spPr>
            <a:xfrm>
              <a:off x="819862" y="2076242"/>
              <a:ext cx="2098431" cy="715089"/>
            </a:xfrm>
            <a:prstGeom prst="roundRect">
              <a:avLst/>
            </a:prstGeom>
            <a:solidFill>
              <a:schemeClr val="accent3">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Attend and leverage existing management network meetings</a:t>
              </a:r>
              <a:endParaRPr lang="en-CA" sz="12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AC7D6365-F105-4F93-8BE0-B43D1CB88581}"/>
                </a:ext>
              </a:extLst>
            </p:cNvPr>
            <p:cNvSpPr txBox="1"/>
            <p:nvPr/>
          </p:nvSpPr>
          <p:spPr>
            <a:xfrm>
              <a:off x="9464248" y="4295206"/>
              <a:ext cx="2098431" cy="715089"/>
            </a:xfrm>
            <a:prstGeom prst="roundRect">
              <a:avLst/>
            </a:prstGeom>
            <a:solidFill>
              <a:schemeClr val="accent5">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Get to know your integrated project team and enabling sector reps</a:t>
              </a:r>
              <a:endParaRPr lang="en-CA" sz="12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D76EFD0E-2325-48A0-9879-F8CA77F60151}"/>
                </a:ext>
              </a:extLst>
            </p:cNvPr>
            <p:cNvSpPr txBox="1"/>
            <p:nvPr/>
          </p:nvSpPr>
          <p:spPr>
            <a:xfrm>
              <a:off x="6805774" y="1400812"/>
              <a:ext cx="2098431" cy="715089"/>
            </a:xfrm>
            <a:prstGeom prst="roundRect">
              <a:avLst/>
            </a:prstGeom>
            <a:solidFill>
              <a:schemeClr val="accent4">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Review all project specific communications, tools and training materials</a:t>
              </a:r>
              <a:endParaRPr lang="en-CA" sz="12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97308898-6812-42B1-AFE8-3E8A057CA97B}"/>
                </a:ext>
              </a:extLst>
            </p:cNvPr>
            <p:cNvSpPr txBox="1"/>
            <p:nvPr/>
          </p:nvSpPr>
          <p:spPr>
            <a:xfrm>
              <a:off x="8815446" y="5321280"/>
              <a:ext cx="2098431" cy="715089"/>
            </a:xfrm>
            <a:prstGeom prst="roundRect">
              <a:avLst/>
            </a:prstGeom>
            <a:solidFill>
              <a:schemeClr val="accent5">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Anticipate team-specific questions and be prepared to ask the project team</a:t>
              </a:r>
              <a:endParaRPr lang="en-CA" sz="1200"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A22B9F5D-B46B-4677-AFEC-D0C7C6221434}"/>
                </a:ext>
              </a:extLst>
            </p:cNvPr>
            <p:cNvSpPr txBox="1"/>
            <p:nvPr/>
          </p:nvSpPr>
          <p:spPr>
            <a:xfrm>
              <a:off x="6372329" y="5585750"/>
              <a:ext cx="2098431" cy="715089"/>
            </a:xfrm>
            <a:prstGeom prst="roundRect">
              <a:avLst/>
            </a:prstGeom>
            <a:solidFill>
              <a:schemeClr val="accent5">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Anticipate your questions and get answers prior to engaging your team</a:t>
              </a:r>
              <a:endParaRPr lang="en-CA" sz="1200"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916B84F5-B707-4C77-9F7A-5FC4F52EC26C}"/>
                </a:ext>
              </a:extLst>
            </p:cNvPr>
            <p:cNvSpPr txBox="1"/>
            <p:nvPr/>
          </p:nvSpPr>
          <p:spPr>
            <a:xfrm>
              <a:off x="9268847" y="1765654"/>
              <a:ext cx="2359995" cy="919401"/>
            </a:xfrm>
            <a:prstGeom prst="roundRect">
              <a:avLst/>
            </a:prstGeom>
            <a:solidFill>
              <a:schemeClr val="accent4">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Understand the provided schedule and upcoming milestones impacting your team</a:t>
              </a:r>
              <a:endParaRPr lang="en-CA" sz="12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7ED49430-B819-4E13-BA9E-51EBDB47459D}"/>
                </a:ext>
              </a:extLst>
            </p:cNvPr>
            <p:cNvSpPr txBox="1"/>
            <p:nvPr/>
          </p:nvSpPr>
          <p:spPr>
            <a:xfrm>
              <a:off x="8863033" y="2969299"/>
              <a:ext cx="2408621" cy="715089"/>
            </a:xfrm>
            <a:prstGeom prst="roundRect">
              <a:avLst/>
            </a:prstGeom>
            <a:solidFill>
              <a:schemeClr val="accent4">
                <a:lumMod val="20000"/>
                <a:lumOff val="80000"/>
              </a:schemeClr>
            </a:solidFill>
          </p:spPr>
          <p:txBody>
            <a:bodyPr wrap="square" rtlCol="0">
              <a:spAutoFit/>
            </a:bodyPr>
            <a:lstStyle/>
            <a:p>
              <a:pPr algn="ctr"/>
              <a:r>
                <a:rPr lang="en-US" sz="1200" dirty="0">
                  <a:latin typeface="Arial" panose="020B0604020202020204" pitchFamily="34" charset="0"/>
                  <a:cs typeface="Arial" panose="020B0604020202020204" pitchFamily="34" charset="0"/>
                </a:rPr>
                <a:t>Know where all resources are housed such as a MS Teams Channel, website, or newsletter</a:t>
              </a:r>
              <a:endParaRPr lang="en-CA" sz="12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1825860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5E27B8-4E8C-76A8-8D70-79A07325600C}"/>
              </a:ext>
            </a:extLst>
          </p:cNvPr>
          <p:cNvSpPr>
            <a:spLocks noGrp="1"/>
          </p:cNvSpPr>
          <p:nvPr>
            <p:ph type="title"/>
          </p:nvPr>
        </p:nvSpPr>
        <p:spPr/>
        <p:txBody>
          <a:bodyPr/>
          <a:lstStyle/>
          <a:p>
            <a:r>
              <a:rPr lang="en-CA" dirty="0"/>
              <a:t>Next Steps</a:t>
            </a:r>
          </a:p>
        </p:txBody>
      </p:sp>
      <p:sp>
        <p:nvSpPr>
          <p:cNvPr id="3" name="TextBox 2">
            <a:extLst>
              <a:ext uri="{FF2B5EF4-FFF2-40B4-BE49-F238E27FC236}">
                <a16:creationId xmlns:a16="http://schemas.microsoft.com/office/drawing/2014/main" id="{63853EAE-6C40-7F6A-CD9C-4F90675A3F9D}"/>
              </a:ext>
            </a:extLst>
          </p:cNvPr>
          <p:cNvSpPr txBox="1"/>
          <p:nvPr/>
        </p:nvSpPr>
        <p:spPr>
          <a:xfrm>
            <a:off x="652553" y="1987250"/>
            <a:ext cx="10491847" cy="2585323"/>
          </a:xfrm>
          <a:prstGeom prst="rect">
            <a:avLst/>
          </a:prstGeom>
          <a:noFill/>
        </p:spPr>
        <p:txBody>
          <a:bodyPr wrap="square" rtlCol="0">
            <a:spAutoFit/>
          </a:bodyPr>
          <a:lstStyle/>
          <a:p>
            <a:pPr marL="285750" indent="-285750">
              <a:buFont typeface="Arial" panose="020B0604020202020204" pitchFamily="34" charset="0"/>
              <a:buChar char="•"/>
            </a:pPr>
            <a:r>
              <a:rPr lang="en-CA" dirty="0"/>
              <a:t>Engage with the change process and keep up to date on news and information regarding the workplace change</a:t>
            </a:r>
          </a:p>
          <a:p>
            <a:endParaRPr lang="en-CA" dirty="0"/>
          </a:p>
          <a:p>
            <a:pPr marL="285750" indent="-285750">
              <a:buFont typeface="Arial" panose="020B0604020202020204" pitchFamily="34" charset="0"/>
              <a:buChar char="•"/>
            </a:pPr>
            <a:r>
              <a:rPr lang="en-CA" dirty="0"/>
              <a:t>Embrace your roles as a manager during this workplace change </a:t>
            </a:r>
          </a:p>
          <a:p>
            <a:pPr lvl="1"/>
            <a:endParaRPr lang="en-CA" dirty="0"/>
          </a:p>
          <a:p>
            <a:pPr marL="285750" indent="-285750">
              <a:buFont typeface="Arial" panose="020B0604020202020204" pitchFamily="34" charset="0"/>
              <a:buChar char="•"/>
            </a:pPr>
            <a:r>
              <a:rPr lang="en-CA" dirty="0"/>
              <a:t>Consider pursuing the following topics through your learning plan. Multiple courses are available at the Canada School of Public service on these topics: </a:t>
            </a:r>
          </a:p>
          <a:p>
            <a:pPr marL="742950" lvl="1" indent="-285750">
              <a:buFont typeface="Arial" panose="020B0604020202020204" pitchFamily="34" charset="0"/>
              <a:buChar char="•"/>
            </a:pPr>
            <a:r>
              <a:rPr lang="en-CA" dirty="0"/>
              <a:t>Emotional intelligence</a:t>
            </a:r>
          </a:p>
          <a:p>
            <a:pPr marL="742950" lvl="1" indent="-285750">
              <a:buFont typeface="Arial" panose="020B0604020202020204" pitchFamily="34" charset="0"/>
              <a:buChar char="•"/>
            </a:pPr>
            <a:r>
              <a:rPr lang="en-CA" dirty="0"/>
              <a:t>Change management</a:t>
            </a:r>
          </a:p>
        </p:txBody>
      </p:sp>
    </p:spTree>
    <p:extLst>
      <p:ext uri="{BB962C8B-B14F-4D97-AF65-F5344CB8AC3E}">
        <p14:creationId xmlns:p14="http://schemas.microsoft.com/office/powerpoint/2010/main" val="21003998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8FF00-1347-4DA1-9437-1B4A0F154B78}"/>
              </a:ext>
            </a:extLst>
          </p:cNvPr>
          <p:cNvSpPr>
            <a:spLocks noGrp="1"/>
          </p:cNvSpPr>
          <p:nvPr>
            <p:ph type="title"/>
          </p:nvPr>
        </p:nvSpPr>
        <p:spPr/>
        <p:txBody>
          <a:bodyPr/>
          <a:lstStyle/>
          <a:p>
            <a:r>
              <a:rPr lang="en-US" dirty="0"/>
              <a:t>Presentation Objectives</a:t>
            </a:r>
            <a:endParaRPr lang="en-CA" dirty="0"/>
          </a:p>
        </p:txBody>
      </p:sp>
      <p:sp>
        <p:nvSpPr>
          <p:cNvPr id="4" name="TextBox 3">
            <a:extLst>
              <a:ext uri="{FF2B5EF4-FFF2-40B4-BE49-F238E27FC236}">
                <a16:creationId xmlns:a16="http://schemas.microsoft.com/office/drawing/2014/main" id="{1BF6AE7D-EA5B-2770-5162-CBDE59225782}"/>
              </a:ext>
            </a:extLst>
          </p:cNvPr>
          <p:cNvSpPr txBox="1"/>
          <p:nvPr/>
        </p:nvSpPr>
        <p:spPr>
          <a:xfrm>
            <a:off x="607102" y="1738859"/>
            <a:ext cx="11092721" cy="1477328"/>
          </a:xfrm>
          <a:prstGeom prst="rect">
            <a:avLst/>
          </a:prstGeom>
          <a:noFill/>
        </p:spPr>
        <p:txBody>
          <a:bodyPr wrap="square" rtlCol="0">
            <a:spAutoFit/>
          </a:bodyPr>
          <a:lstStyle/>
          <a:p>
            <a:pPr marL="285750" indent="-285750">
              <a:buFont typeface="Arial" panose="020B0604020202020204" pitchFamily="34" charset="0"/>
              <a:buChar char="•"/>
            </a:pPr>
            <a:r>
              <a:rPr lang="en-CA" dirty="0"/>
              <a:t>Contextualize your workplace change in the context of the goals of </a:t>
            </a:r>
            <a:r>
              <a:rPr lang="en-CA" dirty="0">
                <a:solidFill>
                  <a:srgbClr val="FF0000"/>
                </a:solidFill>
                <a:highlight>
                  <a:srgbClr val="FFFF00"/>
                </a:highlight>
              </a:rPr>
              <a:t>DEPARTMENT X </a:t>
            </a:r>
            <a:r>
              <a:rPr lang="en-CA" dirty="0"/>
              <a:t>and the Government of Canada </a:t>
            </a:r>
          </a:p>
          <a:p>
            <a:pPr marL="285750" indent="-285750">
              <a:buFont typeface="Arial" panose="020B0604020202020204" pitchFamily="34" charset="0"/>
              <a:buChar char="•"/>
            </a:pPr>
            <a:r>
              <a:rPr lang="en-CA" dirty="0"/>
              <a:t>Describe your role as a people manager during a potentially difficult change </a:t>
            </a:r>
          </a:p>
          <a:p>
            <a:pPr marL="285750" indent="-285750">
              <a:buFont typeface="Arial" panose="020B0604020202020204" pitchFamily="34" charset="0"/>
              <a:buChar char="•"/>
            </a:pPr>
            <a:endParaRPr lang="en-CA" dirty="0"/>
          </a:p>
          <a:p>
            <a:pPr marL="285750" indent="-285750">
              <a:buFont typeface="Arial" panose="020B0604020202020204" pitchFamily="34" charset="0"/>
              <a:buChar char="•"/>
            </a:pPr>
            <a:endParaRPr lang="en-CA" dirty="0"/>
          </a:p>
        </p:txBody>
      </p:sp>
    </p:spTree>
    <p:extLst>
      <p:ext uri="{BB962C8B-B14F-4D97-AF65-F5344CB8AC3E}">
        <p14:creationId xmlns:p14="http://schemas.microsoft.com/office/powerpoint/2010/main" val="782836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AFBF6-A3FE-12ED-8681-E058ECB7745D}"/>
              </a:ext>
            </a:extLst>
          </p:cNvPr>
          <p:cNvSpPr>
            <a:spLocks noGrp="1"/>
          </p:cNvSpPr>
          <p:nvPr>
            <p:ph type="title"/>
          </p:nvPr>
        </p:nvSpPr>
        <p:spPr/>
        <p:txBody>
          <a:bodyPr/>
          <a:lstStyle/>
          <a:p>
            <a:r>
              <a:rPr lang="en-CA" dirty="0"/>
              <a:t>The Government of Canada’s Office Space Portfolio</a:t>
            </a:r>
          </a:p>
        </p:txBody>
      </p:sp>
      <p:sp>
        <p:nvSpPr>
          <p:cNvPr id="3" name="TextBox 2">
            <a:extLst>
              <a:ext uri="{FF2B5EF4-FFF2-40B4-BE49-F238E27FC236}">
                <a16:creationId xmlns:a16="http://schemas.microsoft.com/office/drawing/2014/main" id="{CC8B02F3-0C27-03C9-5D56-EC07236B6660}"/>
              </a:ext>
            </a:extLst>
          </p:cNvPr>
          <p:cNvSpPr txBox="1"/>
          <p:nvPr/>
        </p:nvSpPr>
        <p:spPr>
          <a:xfrm>
            <a:off x="508758" y="1713900"/>
            <a:ext cx="11006345" cy="3416320"/>
          </a:xfrm>
          <a:prstGeom prst="rect">
            <a:avLst/>
          </a:prstGeom>
          <a:noFill/>
        </p:spPr>
        <p:txBody>
          <a:bodyPr wrap="square" rtlCol="0">
            <a:spAutoFit/>
          </a:bodyPr>
          <a:lstStyle/>
          <a:p>
            <a:r>
              <a:rPr lang="en-CA" kern="100" dirty="0">
                <a:latin typeface="Calibri" panose="020F0502020204030204" pitchFamily="34" charset="0"/>
                <a:ea typeface="Calibri" panose="020F0502020204030204" pitchFamily="34" charset="0"/>
                <a:cs typeface="Times New Roman" panose="02020603050405020304" pitchFamily="18" charset="0"/>
              </a:rPr>
              <a:t>In Budget 2024, the Government of Canada outlined its plan of converting underused federal offices into homes. This plan consists in part of reducing its office space portfolio by 50% over ten years. This optimization of the government’s office portfolio will consist of divesting of underused and vacant space. In addition to being a response to the government’s </a:t>
            </a:r>
            <a:r>
              <a:rPr lang="en-CA" kern="100" dirty="0">
                <a:latin typeface="Calibri" panose="020F0502020204030204" pitchFamily="34" charset="0"/>
                <a:ea typeface="Calibri" panose="020F0502020204030204" pitchFamily="34" charset="0"/>
                <a:cs typeface="Times New Roman" panose="02020603050405020304" pitchFamily="18" charset="0"/>
                <a:hlinkClick r:id="rId2"/>
              </a:rPr>
              <a:t>common hybrid work model</a:t>
            </a:r>
            <a:r>
              <a:rPr lang="en-CA" kern="100" dirty="0">
                <a:latin typeface="Calibri" panose="020F0502020204030204" pitchFamily="34" charset="0"/>
                <a:ea typeface="Calibri" panose="020F0502020204030204" pitchFamily="34" charset="0"/>
                <a:cs typeface="Times New Roman" panose="02020603050405020304" pitchFamily="18" charset="0"/>
              </a:rPr>
              <a:t>, this plan also requires to apply implement unassigned seating in office space by default, which means that</a:t>
            </a:r>
            <a:endParaRPr lang="en-C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Workstations will be unassigned</a:t>
            </a:r>
          </a:p>
          <a:p>
            <a:pPr marL="285750" indent="-285750">
              <a:buFont typeface="Arial" panose="020B0604020202020204" pitchFamily="34" charset="0"/>
              <a:buChar char="•"/>
            </a:pP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Closed offices will be focus rooms or meeting rooms, accessible to all</a:t>
            </a:r>
          </a:p>
          <a:p>
            <a:endParaRPr lang="en-CA" kern="100" dirty="0">
              <a:latin typeface="Calibri" panose="020F0502020204030204" pitchFamily="34" charset="0"/>
              <a:ea typeface="Calibri" panose="020F0502020204030204" pitchFamily="34" charset="0"/>
              <a:cs typeface="Times New Roman" panose="02020603050405020304" pitchFamily="18" charset="0"/>
            </a:endParaRPr>
          </a:p>
          <a:p>
            <a:r>
              <a:rPr lang="en-CA" kern="100" dirty="0">
                <a:latin typeface="Calibri" panose="020F0502020204030204" pitchFamily="34" charset="0"/>
                <a:ea typeface="Calibri" panose="020F0502020204030204" pitchFamily="34" charset="0"/>
                <a:cs typeface="Times New Roman" panose="02020603050405020304" pitchFamily="18" charset="0"/>
              </a:rPr>
              <a:t>While every organization and every group is going to be impacted differently by this policy, it is important to recognize that these policies could constitute a major change for our people. It is important to reflect on </a:t>
            </a: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your role as a leader in your organization in navigating this change. </a:t>
            </a:r>
          </a:p>
          <a:p>
            <a:endParaRPr lang="en-CA"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801278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28F65A-808D-02D2-738B-A7C5CC9FA5CA}"/>
              </a:ext>
            </a:extLst>
          </p:cNvPr>
          <p:cNvSpPr>
            <a:spLocks noGrp="1"/>
          </p:cNvSpPr>
          <p:nvPr>
            <p:ph type="title"/>
          </p:nvPr>
        </p:nvSpPr>
        <p:spPr/>
        <p:txBody>
          <a:bodyPr>
            <a:normAutofit fontScale="90000"/>
          </a:bodyPr>
          <a:lstStyle/>
          <a:p>
            <a:r>
              <a:rPr lang="en-CA" dirty="0"/>
              <a:t>Unassigned Office Space Seating by Default: The Impact on the Government of Canada’s Office Portfolio </a:t>
            </a:r>
          </a:p>
        </p:txBody>
      </p:sp>
      <p:grpSp>
        <p:nvGrpSpPr>
          <p:cNvPr id="3"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EAFCA7DA-B3A3-40D1-F2DD-88BF94C0FDEE}"/>
              </a:ext>
            </a:extLst>
          </p:cNvPr>
          <p:cNvGrpSpPr/>
          <p:nvPr/>
        </p:nvGrpSpPr>
        <p:grpSpPr>
          <a:xfrm>
            <a:off x="700108" y="2036711"/>
            <a:ext cx="4702573" cy="3873681"/>
            <a:chOff x="2306020" y="2168083"/>
            <a:chExt cx="4702573" cy="3873681"/>
          </a:xfrm>
        </p:grpSpPr>
        <p:sp>
          <p:nvSpPr>
            <p:cNvPr id="5" name="TextBox 45">
              <a:extLst>
                <a:ext uri="{FF2B5EF4-FFF2-40B4-BE49-F238E27FC236}">
                  <a16:creationId xmlns:a16="http://schemas.microsoft.com/office/drawing/2014/main" id="{022AD1F7-CC8C-3292-5DCC-261E346D205F}"/>
                </a:ext>
              </a:extLst>
            </p:cNvPr>
            <p:cNvSpPr txBox="1"/>
            <p:nvPr/>
          </p:nvSpPr>
          <p:spPr>
            <a:xfrm>
              <a:off x="3298779" y="2168083"/>
              <a:ext cx="2846395"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1200" cap="none" spc="0" normalizeH="0" baseline="0">
                  <a:ln>
                    <a:noFill/>
                  </a:ln>
                  <a:solidFill>
                    <a:srgbClr val="000000"/>
                  </a:solidFill>
                  <a:effectLst/>
                  <a:uLnTx/>
                  <a:uFillTx/>
                  <a:latin typeface="Avenir Next LT Pro" panose="020B0504020202020204" pitchFamily="34" charset="0"/>
                </a:rPr>
                <a:t>Assigned Utilization</a:t>
              </a:r>
              <a:endParaRPr lang="en-CA" b="1" i="0" u="none" strike="noStrike" kern="1200" cap="none" spc="0" normalizeH="0" baseline="0">
                <a:ln>
                  <a:noFill/>
                </a:ln>
                <a:solidFill>
                  <a:srgbClr val="000000"/>
                </a:solidFill>
                <a:effectLst/>
                <a:uLnTx/>
                <a:uFillTx/>
                <a:latin typeface="Avenir Next LT Pro" panose="020B0504020202020204" pitchFamily="34" charset="0"/>
              </a:endParaRPr>
            </a:p>
          </p:txBody>
        </p:sp>
        <p:grpSp>
          <p:nvGrpSpPr>
            <p:cNvPr id="6" name="Google Shape;1309;p104">
              <a:extLst>
                <a:ext uri="{FF2B5EF4-FFF2-40B4-BE49-F238E27FC236}">
                  <a16:creationId xmlns:a16="http://schemas.microsoft.com/office/drawing/2014/main" id="{0DE56BB4-308D-A654-219C-A500E6723FB2}"/>
                </a:ext>
              </a:extLst>
            </p:cNvPr>
            <p:cNvGrpSpPr/>
            <p:nvPr/>
          </p:nvGrpSpPr>
          <p:grpSpPr>
            <a:xfrm>
              <a:off x="2306020" y="2600213"/>
              <a:ext cx="4702573" cy="3441551"/>
              <a:chOff x="7398006" y="2595759"/>
              <a:chExt cx="3264414" cy="2478923"/>
            </a:xfrm>
          </p:grpSpPr>
          <p:grpSp>
            <p:nvGrpSpPr>
              <p:cNvPr id="60" name="Google Shape;1310;p104">
                <a:extLst>
                  <a:ext uri="{FF2B5EF4-FFF2-40B4-BE49-F238E27FC236}">
                    <a16:creationId xmlns:a16="http://schemas.microsoft.com/office/drawing/2014/main" id="{82FE7FD9-8BD5-08EF-9E22-AFEFFCC4C5B5}"/>
                  </a:ext>
                </a:extLst>
              </p:cNvPr>
              <p:cNvGrpSpPr/>
              <p:nvPr/>
            </p:nvGrpSpPr>
            <p:grpSpPr>
              <a:xfrm>
                <a:off x="7398006" y="2595759"/>
                <a:ext cx="3264414" cy="2478923"/>
                <a:chOff x="7397719" y="2595653"/>
                <a:chExt cx="3817583" cy="2898986"/>
              </a:xfrm>
            </p:grpSpPr>
            <p:grpSp>
              <p:nvGrpSpPr>
                <p:cNvPr id="63" name="Google Shape;1311;p104">
                  <a:extLst>
                    <a:ext uri="{FF2B5EF4-FFF2-40B4-BE49-F238E27FC236}">
                      <a16:creationId xmlns:a16="http://schemas.microsoft.com/office/drawing/2014/main" id="{1F253533-8F61-A98F-A047-62E035D20E2F}"/>
                    </a:ext>
                  </a:extLst>
                </p:cNvPr>
                <p:cNvGrpSpPr/>
                <p:nvPr/>
              </p:nvGrpSpPr>
              <p:grpSpPr>
                <a:xfrm>
                  <a:off x="7397719" y="2595653"/>
                  <a:ext cx="3817583" cy="2898986"/>
                  <a:chOff x="3782853" y="2244933"/>
                  <a:chExt cx="4750010" cy="3607050"/>
                </a:xfrm>
              </p:grpSpPr>
              <p:sp>
                <p:nvSpPr>
                  <p:cNvPr id="69" name="Google Shape;1312;p104">
                    <a:extLst>
                      <a:ext uri="{FF2B5EF4-FFF2-40B4-BE49-F238E27FC236}">
                        <a16:creationId xmlns:a16="http://schemas.microsoft.com/office/drawing/2014/main" id="{CDB7C5CD-F4AC-8A66-5378-BF3E4CB2B2A8}"/>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0" name="Google Shape;1313;p104">
                    <a:extLst>
                      <a:ext uri="{FF2B5EF4-FFF2-40B4-BE49-F238E27FC236}">
                        <a16:creationId xmlns:a16="http://schemas.microsoft.com/office/drawing/2014/main" id="{0345FD51-2B7B-EF07-5887-2EBFDF34C717}"/>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1" name="Google Shape;1314;p104">
                    <a:extLst>
                      <a:ext uri="{FF2B5EF4-FFF2-40B4-BE49-F238E27FC236}">
                        <a16:creationId xmlns:a16="http://schemas.microsoft.com/office/drawing/2014/main" id="{C6BF1ADF-E135-B21B-74D8-9F28DBAAFD66}"/>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2" name="Google Shape;1315;p104">
                    <a:extLst>
                      <a:ext uri="{FF2B5EF4-FFF2-40B4-BE49-F238E27FC236}">
                        <a16:creationId xmlns:a16="http://schemas.microsoft.com/office/drawing/2014/main" id="{539BFB47-01E8-3E08-8FB1-2F7C72B27323}"/>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3" name="Google Shape;1316;p104">
                    <a:extLst>
                      <a:ext uri="{FF2B5EF4-FFF2-40B4-BE49-F238E27FC236}">
                        <a16:creationId xmlns:a16="http://schemas.microsoft.com/office/drawing/2014/main" id="{AC9D358B-D420-79BA-6D60-04D058CBF1FA}"/>
                      </a:ext>
                    </a:extLst>
                  </p:cNvPr>
                  <p:cNvSpPr/>
                  <p:nvPr/>
                </p:nvSpPr>
                <p:spPr>
                  <a:xfrm>
                    <a:off x="4716593"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4" name="Google Shape;1317;p104">
                    <a:extLst>
                      <a:ext uri="{FF2B5EF4-FFF2-40B4-BE49-F238E27FC236}">
                        <a16:creationId xmlns:a16="http://schemas.microsoft.com/office/drawing/2014/main" id="{1B335456-D634-A7D1-484E-B60B8D80EDC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5" name="Google Shape;1318;p104">
                    <a:extLst>
                      <a:ext uri="{FF2B5EF4-FFF2-40B4-BE49-F238E27FC236}">
                        <a16:creationId xmlns:a16="http://schemas.microsoft.com/office/drawing/2014/main" id="{21FEA7B0-C92C-4F85-D04E-D2A6ED4CADE4}"/>
                      </a:ext>
                    </a:extLst>
                  </p:cNvPr>
                  <p:cNvSpPr/>
                  <p:nvPr/>
                </p:nvSpPr>
                <p:spPr>
                  <a:xfrm>
                    <a:off x="5332125"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6" name="Google Shape;1304;p104">
                    <a:extLst>
                      <a:ext uri="{FF2B5EF4-FFF2-40B4-BE49-F238E27FC236}">
                        <a16:creationId xmlns:a16="http://schemas.microsoft.com/office/drawing/2014/main" id="{ABEE8544-1D26-9200-CDF0-D1350CA08421}"/>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7" name="Google Shape;1319;p104">
                    <a:extLst>
                      <a:ext uri="{FF2B5EF4-FFF2-40B4-BE49-F238E27FC236}">
                        <a16:creationId xmlns:a16="http://schemas.microsoft.com/office/drawing/2014/main" id="{E44F8EE3-ED60-217F-00DB-6DEA5587984D}"/>
                      </a:ext>
                    </a:extLst>
                  </p:cNvPr>
                  <p:cNvSpPr/>
                  <p:nvPr/>
                </p:nvSpPr>
                <p:spPr>
                  <a:xfrm>
                    <a:off x="4408827" y="2898722"/>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8" name="Google Shape;1320;p104">
                    <a:extLst>
                      <a:ext uri="{FF2B5EF4-FFF2-40B4-BE49-F238E27FC236}">
                        <a16:creationId xmlns:a16="http://schemas.microsoft.com/office/drawing/2014/main" id="{721FD5B1-B8E8-81F5-1A1C-B73F2499E044}"/>
                      </a:ext>
                    </a:extLst>
                  </p:cNvPr>
                  <p:cNvSpPr/>
                  <p:nvPr/>
                </p:nvSpPr>
                <p:spPr>
                  <a:xfrm>
                    <a:off x="4716593" y="2898722"/>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9" name="Google Shape;1321;p104">
                    <a:extLst>
                      <a:ext uri="{FF2B5EF4-FFF2-40B4-BE49-F238E27FC236}">
                        <a16:creationId xmlns:a16="http://schemas.microsoft.com/office/drawing/2014/main" id="{59CB107C-EFA5-0571-874A-71E040057DA9}"/>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0" name="Google Shape;1322;p104">
                    <a:extLst>
                      <a:ext uri="{FF2B5EF4-FFF2-40B4-BE49-F238E27FC236}">
                        <a16:creationId xmlns:a16="http://schemas.microsoft.com/office/drawing/2014/main" id="{3628AC16-36E1-9F26-FCE2-3D4ACC068FED}"/>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1" name="Google Shape;1297;p104">
                    <a:extLst>
                      <a:ext uri="{FF2B5EF4-FFF2-40B4-BE49-F238E27FC236}">
                        <a16:creationId xmlns:a16="http://schemas.microsoft.com/office/drawing/2014/main" id="{55B8F6F9-30B5-38AD-5C41-FF97AE574FB1}"/>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2" name="Google Shape;1323;p104">
                    <a:extLst>
                      <a:ext uri="{FF2B5EF4-FFF2-40B4-BE49-F238E27FC236}">
                        <a16:creationId xmlns:a16="http://schemas.microsoft.com/office/drawing/2014/main" id="{04074352-6561-469C-9CA8-58B3994C0B48}"/>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3" name="Google Shape;1324;p104">
                    <a:extLst>
                      <a:ext uri="{FF2B5EF4-FFF2-40B4-BE49-F238E27FC236}">
                        <a16:creationId xmlns:a16="http://schemas.microsoft.com/office/drawing/2014/main" id="{1FF1D28E-71DB-BB24-D0F9-B7127B862037}"/>
                      </a:ext>
                    </a:extLst>
                  </p:cNvPr>
                  <p:cNvSpPr/>
                  <p:nvPr/>
                </p:nvSpPr>
                <p:spPr>
                  <a:xfrm>
                    <a:off x="4719954" y="327238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4" name="Google Shape;1325;p104">
                    <a:extLst>
                      <a:ext uri="{FF2B5EF4-FFF2-40B4-BE49-F238E27FC236}">
                        <a16:creationId xmlns:a16="http://schemas.microsoft.com/office/drawing/2014/main" id="{4A95BE5C-9695-5A49-5F7B-42E0D306B511}"/>
                      </a:ext>
                    </a:extLst>
                  </p:cNvPr>
                  <p:cNvSpPr/>
                  <p:nvPr/>
                </p:nvSpPr>
                <p:spPr>
                  <a:xfrm>
                    <a:off x="5027720" y="3272388"/>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5" name="Google Shape;1326;p104">
                    <a:extLst>
                      <a:ext uri="{FF2B5EF4-FFF2-40B4-BE49-F238E27FC236}">
                        <a16:creationId xmlns:a16="http://schemas.microsoft.com/office/drawing/2014/main" id="{C71A26AD-7EF2-1E88-3459-C38894A489EA}"/>
                      </a:ext>
                    </a:extLst>
                  </p:cNvPr>
                  <p:cNvSpPr/>
                  <p:nvPr/>
                </p:nvSpPr>
                <p:spPr>
                  <a:xfrm>
                    <a:off x="5335486" y="327238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6" name="Google Shape;1327;p104">
                    <a:extLst>
                      <a:ext uri="{FF2B5EF4-FFF2-40B4-BE49-F238E27FC236}">
                        <a16:creationId xmlns:a16="http://schemas.microsoft.com/office/drawing/2014/main" id="{E2DC76E6-D970-DFF5-B90F-B7A37D44948C}"/>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7" name="Google Shape;1328;p104">
                    <a:extLst>
                      <a:ext uri="{FF2B5EF4-FFF2-40B4-BE49-F238E27FC236}">
                        <a16:creationId xmlns:a16="http://schemas.microsoft.com/office/drawing/2014/main" id="{F30F4DAF-7030-3561-F330-42BCA5B33E01}"/>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88" name="Google Shape;1329;p104">
                    <a:extLst>
                      <a:ext uri="{FF2B5EF4-FFF2-40B4-BE49-F238E27FC236}">
                        <a16:creationId xmlns:a16="http://schemas.microsoft.com/office/drawing/2014/main" id="{3C579C58-B8F2-9B89-39A4-CE396AD876FA}"/>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9" name="Google Shape;1330;p104">
                    <a:extLst>
                      <a:ext uri="{FF2B5EF4-FFF2-40B4-BE49-F238E27FC236}">
                        <a16:creationId xmlns:a16="http://schemas.microsoft.com/office/drawing/2014/main" id="{77BAA2A7-9892-D252-FEB0-4274F4B26BFB}"/>
                      </a:ext>
                    </a:extLst>
                  </p:cNvPr>
                  <p:cNvSpPr/>
                  <p:nvPr/>
                </p:nvSpPr>
                <p:spPr>
                  <a:xfrm>
                    <a:off x="5036914" y="365384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0" name="Google Shape;1331;p104">
                    <a:extLst>
                      <a:ext uri="{FF2B5EF4-FFF2-40B4-BE49-F238E27FC236}">
                        <a16:creationId xmlns:a16="http://schemas.microsoft.com/office/drawing/2014/main" id="{20801CB3-FA6C-754B-C6C6-26EDFB7EF772}"/>
                      </a:ext>
                    </a:extLst>
                  </p:cNvPr>
                  <p:cNvSpPr/>
                  <p:nvPr/>
                </p:nvSpPr>
                <p:spPr>
                  <a:xfrm>
                    <a:off x="5344680" y="3653840"/>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1" name="Google Shape;1332;p104">
                    <a:extLst>
                      <a:ext uri="{FF2B5EF4-FFF2-40B4-BE49-F238E27FC236}">
                        <a16:creationId xmlns:a16="http://schemas.microsoft.com/office/drawing/2014/main" id="{0200689D-EE6B-6145-A12C-BE279410E9F1}"/>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2" name="Google Shape;1333;p104">
                    <a:extLst>
                      <a:ext uri="{FF2B5EF4-FFF2-40B4-BE49-F238E27FC236}">
                        <a16:creationId xmlns:a16="http://schemas.microsoft.com/office/drawing/2014/main" id="{2B387E84-5579-4099-4E6C-397361752321}"/>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3" name="Google Shape;1334;p104">
                    <a:extLst>
                      <a:ext uri="{FF2B5EF4-FFF2-40B4-BE49-F238E27FC236}">
                        <a16:creationId xmlns:a16="http://schemas.microsoft.com/office/drawing/2014/main" id="{9A0275B6-C321-7E11-4AF0-0FFBB26A3840}"/>
                      </a:ext>
                    </a:extLst>
                  </p:cNvPr>
                  <p:cNvSpPr/>
                  <p:nvPr/>
                </p:nvSpPr>
                <p:spPr>
                  <a:xfrm>
                    <a:off x="4734085" y="4032129"/>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4" name="Google Shape;1335;p104">
                    <a:extLst>
                      <a:ext uri="{FF2B5EF4-FFF2-40B4-BE49-F238E27FC236}">
                        <a16:creationId xmlns:a16="http://schemas.microsoft.com/office/drawing/2014/main" id="{816E36D8-4D0D-276D-9D29-0E1CF4EA29AF}"/>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5" name="Google Shape;1336;p104">
                    <a:extLst>
                      <a:ext uri="{FF2B5EF4-FFF2-40B4-BE49-F238E27FC236}">
                        <a16:creationId xmlns:a16="http://schemas.microsoft.com/office/drawing/2014/main" id="{B406834C-98FA-B5CC-19A2-C0A6B60B4A99}"/>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96" name="Google Shape;1337;p104">
                    <a:extLst>
                      <a:ext uri="{FF2B5EF4-FFF2-40B4-BE49-F238E27FC236}">
                        <a16:creationId xmlns:a16="http://schemas.microsoft.com/office/drawing/2014/main" id="{D23CECA9-93C2-90B1-7592-4A25ED3A0C27}"/>
                      </a:ext>
                    </a:extLst>
                  </p:cNvPr>
                  <p:cNvSpPr/>
                  <p:nvPr/>
                </p:nvSpPr>
                <p:spPr>
                  <a:xfrm>
                    <a:off x="5657383" y="403212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7" name="Google Shape;1338;p104">
                    <a:extLst>
                      <a:ext uri="{FF2B5EF4-FFF2-40B4-BE49-F238E27FC236}">
                        <a16:creationId xmlns:a16="http://schemas.microsoft.com/office/drawing/2014/main" id="{D72090B6-A1EC-D213-3FC8-3B15E5F8EE7B}"/>
                      </a:ext>
                    </a:extLst>
                  </p:cNvPr>
                  <p:cNvSpPr/>
                  <p:nvPr/>
                </p:nvSpPr>
                <p:spPr>
                  <a:xfrm>
                    <a:off x="4421382" y="4406686"/>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8" name="Google Shape;1339;p104">
                    <a:extLst>
                      <a:ext uri="{FF2B5EF4-FFF2-40B4-BE49-F238E27FC236}">
                        <a16:creationId xmlns:a16="http://schemas.microsoft.com/office/drawing/2014/main" id="{ADAB80AC-6DD5-8EE6-B759-3EA42BF3ACFD}"/>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99" name="Google Shape;1340;p104">
                    <a:extLst>
                      <a:ext uri="{FF2B5EF4-FFF2-40B4-BE49-F238E27FC236}">
                        <a16:creationId xmlns:a16="http://schemas.microsoft.com/office/drawing/2014/main" id="{389D62A2-FE11-DD73-317F-43A87E51B559}"/>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0" name="Google Shape;1341;p104">
                    <a:extLst>
                      <a:ext uri="{FF2B5EF4-FFF2-40B4-BE49-F238E27FC236}">
                        <a16:creationId xmlns:a16="http://schemas.microsoft.com/office/drawing/2014/main" id="{D91AB6BE-C04A-6C05-113A-8ADF629FDD96}"/>
                      </a:ext>
                    </a:extLst>
                  </p:cNvPr>
                  <p:cNvSpPr/>
                  <p:nvPr/>
                </p:nvSpPr>
                <p:spPr>
                  <a:xfrm>
                    <a:off x="5344681"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1" name="Google Shape;1342;p104">
                    <a:extLst>
                      <a:ext uri="{FF2B5EF4-FFF2-40B4-BE49-F238E27FC236}">
                        <a16:creationId xmlns:a16="http://schemas.microsoft.com/office/drawing/2014/main" id="{D19B3D59-CE70-9AAF-5F4D-AD2B21591581}"/>
                      </a:ext>
                    </a:extLst>
                  </p:cNvPr>
                  <p:cNvSpPr/>
                  <p:nvPr/>
                </p:nvSpPr>
                <p:spPr>
                  <a:xfrm>
                    <a:off x="5652447"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2" name="Google Shape;1343;p104">
                    <a:extLst>
                      <a:ext uri="{FF2B5EF4-FFF2-40B4-BE49-F238E27FC236}">
                        <a16:creationId xmlns:a16="http://schemas.microsoft.com/office/drawing/2014/main" id="{5F15206B-AF40-C0D7-43C0-FCBF2BE3D662}"/>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3" name="Google Shape;1344;p104">
                    <a:extLst>
                      <a:ext uri="{FF2B5EF4-FFF2-40B4-BE49-F238E27FC236}">
                        <a16:creationId xmlns:a16="http://schemas.microsoft.com/office/drawing/2014/main" id="{73BCBDA4-3439-52CC-0AC5-E9A1BA5136E5}"/>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4" name="Google Shape;1345;p104">
                    <a:extLst>
                      <a:ext uri="{FF2B5EF4-FFF2-40B4-BE49-F238E27FC236}">
                        <a16:creationId xmlns:a16="http://schemas.microsoft.com/office/drawing/2014/main" id="{3F9EB8F3-DA5A-AF9B-C644-37D3658500E5}"/>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5" name="Google Shape;1346;p104">
                    <a:extLst>
                      <a:ext uri="{FF2B5EF4-FFF2-40B4-BE49-F238E27FC236}">
                        <a16:creationId xmlns:a16="http://schemas.microsoft.com/office/drawing/2014/main" id="{8BF6627A-8472-6A0E-56EB-E1B3F5F10BD3}"/>
                      </a:ext>
                    </a:extLst>
                  </p:cNvPr>
                  <p:cNvSpPr/>
                  <p:nvPr/>
                </p:nvSpPr>
                <p:spPr>
                  <a:xfrm>
                    <a:off x="5345927" y="4768323"/>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6" name="Google Shape;1347;p104">
                    <a:extLst>
                      <a:ext uri="{FF2B5EF4-FFF2-40B4-BE49-F238E27FC236}">
                        <a16:creationId xmlns:a16="http://schemas.microsoft.com/office/drawing/2014/main" id="{5DD57F77-E0AF-D320-4623-3869B46E970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7" name="Google Shape;1348;p104">
                    <a:extLst>
                      <a:ext uri="{FF2B5EF4-FFF2-40B4-BE49-F238E27FC236}">
                        <a16:creationId xmlns:a16="http://schemas.microsoft.com/office/drawing/2014/main" id="{DDCD925C-ECC0-F97C-9306-C165B8EA96D1}"/>
                      </a:ext>
                    </a:extLst>
                  </p:cNvPr>
                  <p:cNvSpPr/>
                  <p:nvPr/>
                </p:nvSpPr>
                <p:spPr>
                  <a:xfrm>
                    <a:off x="4417692" y="5142881"/>
                    <a:ext cx="429000" cy="216900"/>
                  </a:xfrm>
                  <a:prstGeom prst="roundRect">
                    <a:avLst>
                      <a:gd name="adj" fmla="val 16667"/>
                    </a:avLst>
                  </a:prstGeom>
                  <a:solidFill>
                    <a:srgbClr val="ADAFB1"/>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8" name="Google Shape;1349;p104">
                    <a:extLst>
                      <a:ext uri="{FF2B5EF4-FFF2-40B4-BE49-F238E27FC236}">
                        <a16:creationId xmlns:a16="http://schemas.microsoft.com/office/drawing/2014/main" id="{0E77B50D-F610-6699-DC7D-37A5BDDBAE68}"/>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9" name="Google Shape;1350;p104">
                    <a:extLst>
                      <a:ext uri="{FF2B5EF4-FFF2-40B4-BE49-F238E27FC236}">
                        <a16:creationId xmlns:a16="http://schemas.microsoft.com/office/drawing/2014/main" id="{8DC427F7-B6DC-88F8-B838-FFA6C60362CF}"/>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sp>
              <p:nvSpPr>
                <p:cNvPr id="64" name="Google Shape;1351;p104">
                  <a:extLst>
                    <a:ext uri="{FF2B5EF4-FFF2-40B4-BE49-F238E27FC236}">
                      <a16:creationId xmlns:a16="http://schemas.microsoft.com/office/drawing/2014/main" id="{45855FC7-0B38-C3F8-AFE7-BDEDD1B91CF4}"/>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65" name="Google Shape;1352;p104">
                  <a:extLst>
                    <a:ext uri="{FF2B5EF4-FFF2-40B4-BE49-F238E27FC236}">
                      <a16:creationId xmlns:a16="http://schemas.microsoft.com/office/drawing/2014/main" id="{F1D04CFE-85CE-CB35-D9A6-4088A8212AC2}"/>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nvGrpSpPr>
                <p:cNvPr id="66" name="Google Shape;1353;p104">
                  <a:extLst>
                    <a:ext uri="{FF2B5EF4-FFF2-40B4-BE49-F238E27FC236}">
                      <a16:creationId xmlns:a16="http://schemas.microsoft.com/office/drawing/2014/main" id="{B5065F49-4327-3E58-27D6-B67BE6060D1F}"/>
                    </a:ext>
                  </a:extLst>
                </p:cNvPr>
                <p:cNvGrpSpPr/>
                <p:nvPr/>
              </p:nvGrpSpPr>
              <p:grpSpPr>
                <a:xfrm>
                  <a:off x="7402085" y="4400279"/>
                  <a:ext cx="306080" cy="1067964"/>
                  <a:chOff x="3146566" y="4705830"/>
                  <a:chExt cx="275700" cy="823920"/>
                </a:xfrm>
              </p:grpSpPr>
              <p:sp>
                <p:nvSpPr>
                  <p:cNvPr id="67" name="Google Shape;1354;p104">
                    <a:extLst>
                      <a:ext uri="{FF2B5EF4-FFF2-40B4-BE49-F238E27FC236}">
                        <a16:creationId xmlns:a16="http://schemas.microsoft.com/office/drawing/2014/main" id="{1321C3BD-88DD-C688-5910-FBAD83F66D2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68" name="Google Shape;1355;p104">
                    <a:extLst>
                      <a:ext uri="{FF2B5EF4-FFF2-40B4-BE49-F238E27FC236}">
                        <a16:creationId xmlns:a16="http://schemas.microsoft.com/office/drawing/2014/main" id="{AC66B73B-D041-44D2-DE28-1F67D152F3A1}"/>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pic>
            <p:nvPicPr>
              <p:cNvPr id="61" name="Google Shape;1356;p104" descr="Picnic table with solid fill">
                <a:extLst>
                  <a:ext uri="{FF2B5EF4-FFF2-40B4-BE49-F238E27FC236}">
                    <a16:creationId xmlns:a16="http://schemas.microsoft.com/office/drawing/2014/main" id="{32F0EB88-3179-2E20-D0A5-98588731AA8B}"/>
                  </a:ext>
                </a:extLst>
              </p:cNvPr>
              <p:cNvPicPr preferRelativeResize="0"/>
              <p:nvPr/>
            </p:nvPicPr>
            <p:blipFill rotWithShape="1">
              <a:blip r:embed="rId2">
                <a:alphaModFix/>
              </a:blip>
              <a:srcRect/>
              <a:stretch/>
            </p:blipFill>
            <p:spPr>
              <a:xfrm>
                <a:off x="8854378" y="4753095"/>
                <a:ext cx="261700" cy="261700"/>
              </a:xfrm>
              <a:prstGeom prst="rect">
                <a:avLst/>
              </a:prstGeom>
              <a:noFill/>
              <a:ln>
                <a:noFill/>
              </a:ln>
            </p:spPr>
          </p:pic>
          <p:sp>
            <p:nvSpPr>
              <p:cNvPr id="62" name="Google Shape;1357;p104" descr="Bicycle Icon">
                <a:extLst>
                  <a:ext uri="{FF2B5EF4-FFF2-40B4-BE49-F238E27FC236}">
                    <a16:creationId xmlns:a16="http://schemas.microsoft.com/office/drawing/2014/main" id="{5782BE9B-2DA4-9E7F-B316-A6EE751FB6AD}"/>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sz="1800">
                  <a:solidFill>
                    <a:srgbClr val="000000"/>
                  </a:solidFill>
                  <a:latin typeface="Avenir Next LT Pro" panose="020B0504020202020204" pitchFamily="34" charset="0"/>
                  <a:ea typeface="Arial"/>
                  <a:cs typeface="Arial"/>
                  <a:sym typeface="Arial"/>
                </a:endParaRPr>
              </a:p>
            </p:txBody>
          </p:sp>
        </p:grpSp>
        <p:grpSp>
          <p:nvGrpSpPr>
            <p:cNvPr id="13" name="Google Shape;1311;p104">
              <a:extLst>
                <a:ext uri="{FF2B5EF4-FFF2-40B4-BE49-F238E27FC236}">
                  <a16:creationId xmlns:a16="http://schemas.microsoft.com/office/drawing/2014/main" id="{F749FBA4-6C9D-0CDF-7180-93E2D3A08598}"/>
                </a:ext>
              </a:extLst>
            </p:cNvPr>
            <p:cNvGrpSpPr/>
            <p:nvPr/>
          </p:nvGrpSpPr>
          <p:grpSpPr>
            <a:xfrm>
              <a:off x="4842257" y="3259133"/>
              <a:ext cx="1725893" cy="2630199"/>
              <a:chOff x="3065624" y="2941929"/>
              <a:chExt cx="1743300" cy="2756680"/>
            </a:xfrm>
          </p:grpSpPr>
          <p:sp>
            <p:nvSpPr>
              <p:cNvPr id="19" name="Google Shape;1312;p104">
                <a:extLst>
                  <a:ext uri="{FF2B5EF4-FFF2-40B4-BE49-F238E27FC236}">
                    <a16:creationId xmlns:a16="http://schemas.microsoft.com/office/drawing/2014/main" id="{BFA234D2-120A-FD69-86AE-5FB98203EDF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0" name="Google Shape;1313;p104">
                <a:extLst>
                  <a:ext uri="{FF2B5EF4-FFF2-40B4-BE49-F238E27FC236}">
                    <a16:creationId xmlns:a16="http://schemas.microsoft.com/office/drawing/2014/main" id="{94DCBF09-ABA2-C4B6-97FC-220DA50B7E63}"/>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1" name="Google Shape;1314;p104">
                <a:extLst>
                  <a:ext uri="{FF2B5EF4-FFF2-40B4-BE49-F238E27FC236}">
                    <a16:creationId xmlns:a16="http://schemas.microsoft.com/office/drawing/2014/main" id="{F0F688BB-42A1-D9B9-B9A0-C12D3974EA66}"/>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2" name="Google Shape;1323;p104">
                <a:extLst>
                  <a:ext uri="{FF2B5EF4-FFF2-40B4-BE49-F238E27FC236}">
                    <a16:creationId xmlns:a16="http://schemas.microsoft.com/office/drawing/2014/main" id="{E4E3A91C-A0F3-2DBD-3A42-4B868F01CE67}"/>
                  </a:ext>
                </a:extLst>
              </p:cNvPr>
              <p:cNvSpPr/>
              <p:nvPr/>
            </p:nvSpPr>
            <p:spPr>
              <a:xfrm>
                <a:off x="3231045"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3" name="Google Shape;1324;p104">
                <a:extLst>
                  <a:ext uri="{FF2B5EF4-FFF2-40B4-BE49-F238E27FC236}">
                    <a16:creationId xmlns:a16="http://schemas.microsoft.com/office/drawing/2014/main" id="{0887182C-EA58-F4C8-0A6F-6284E60A0077}"/>
                  </a:ext>
                </a:extLst>
              </p:cNvPr>
              <p:cNvSpPr/>
              <p:nvPr/>
            </p:nvSpPr>
            <p:spPr>
              <a:xfrm>
                <a:off x="3538809"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4" name="Google Shape;1325;p104">
                <a:extLst>
                  <a:ext uri="{FF2B5EF4-FFF2-40B4-BE49-F238E27FC236}">
                    <a16:creationId xmlns:a16="http://schemas.microsoft.com/office/drawing/2014/main" id="{85F2CEB4-D0CB-A3BD-A40A-DDA728B058F9}"/>
                  </a:ext>
                </a:extLst>
              </p:cNvPr>
              <p:cNvSpPr/>
              <p:nvPr/>
            </p:nvSpPr>
            <p:spPr>
              <a:xfrm>
                <a:off x="3846576"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5" name="Google Shape;1326;p104">
                <a:extLst>
                  <a:ext uri="{FF2B5EF4-FFF2-40B4-BE49-F238E27FC236}">
                    <a16:creationId xmlns:a16="http://schemas.microsoft.com/office/drawing/2014/main" id="{F5C5410F-2121-82CA-883E-FE65EBEADE9B}"/>
                  </a:ext>
                </a:extLst>
              </p:cNvPr>
              <p:cNvSpPr/>
              <p:nvPr/>
            </p:nvSpPr>
            <p:spPr>
              <a:xfrm>
                <a:off x="4154342"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6" name="Google Shape;1327;p104">
                <a:extLst>
                  <a:ext uri="{FF2B5EF4-FFF2-40B4-BE49-F238E27FC236}">
                    <a16:creationId xmlns:a16="http://schemas.microsoft.com/office/drawing/2014/main" id="{E164CD8B-6519-6488-697B-850EC3B890A6}"/>
                  </a:ext>
                </a:extLst>
              </p:cNvPr>
              <p:cNvSpPr/>
              <p:nvPr/>
            </p:nvSpPr>
            <p:spPr>
              <a:xfrm>
                <a:off x="4462108"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7" name="Google Shape;1328;p104">
                <a:extLst>
                  <a:ext uri="{FF2B5EF4-FFF2-40B4-BE49-F238E27FC236}">
                    <a16:creationId xmlns:a16="http://schemas.microsoft.com/office/drawing/2014/main" id="{A8AC4175-8E9A-70C2-56A5-B068A8EFB7D5}"/>
                  </a:ext>
                </a:extLst>
              </p:cNvPr>
              <p:cNvSpPr/>
              <p:nvPr/>
            </p:nvSpPr>
            <p:spPr>
              <a:xfrm>
                <a:off x="3245527"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8" name="Google Shape;1329;p104">
                <a:extLst>
                  <a:ext uri="{FF2B5EF4-FFF2-40B4-BE49-F238E27FC236}">
                    <a16:creationId xmlns:a16="http://schemas.microsoft.com/office/drawing/2014/main" id="{67744030-6713-B9D7-0991-3B82A9C289EE}"/>
                  </a:ext>
                </a:extLst>
              </p:cNvPr>
              <p:cNvSpPr/>
              <p:nvPr/>
            </p:nvSpPr>
            <p:spPr>
              <a:xfrm>
                <a:off x="3553295"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9" name="Google Shape;1330;p104">
                <a:extLst>
                  <a:ext uri="{FF2B5EF4-FFF2-40B4-BE49-F238E27FC236}">
                    <a16:creationId xmlns:a16="http://schemas.microsoft.com/office/drawing/2014/main" id="{3E97E9F0-DC56-D100-7B11-AEF055A97DCA}"/>
                  </a:ext>
                </a:extLst>
              </p:cNvPr>
              <p:cNvSpPr/>
              <p:nvPr/>
            </p:nvSpPr>
            <p:spPr>
              <a:xfrm>
                <a:off x="3861062" y="3676600"/>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0" name="Google Shape;1331;p104">
                <a:extLst>
                  <a:ext uri="{FF2B5EF4-FFF2-40B4-BE49-F238E27FC236}">
                    <a16:creationId xmlns:a16="http://schemas.microsoft.com/office/drawing/2014/main" id="{F7073BE9-1671-FEE7-C881-346A3AE2C475}"/>
                  </a:ext>
                </a:extLst>
              </p:cNvPr>
              <p:cNvSpPr/>
              <p:nvPr/>
            </p:nvSpPr>
            <p:spPr>
              <a:xfrm>
                <a:off x="4168824" y="367660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1" name="Google Shape;1332;p104">
                <a:extLst>
                  <a:ext uri="{FF2B5EF4-FFF2-40B4-BE49-F238E27FC236}">
                    <a16:creationId xmlns:a16="http://schemas.microsoft.com/office/drawing/2014/main" id="{06CC2BB9-287A-6152-62E0-425567B829A1}"/>
                  </a:ext>
                </a:extLst>
              </p:cNvPr>
              <p:cNvSpPr/>
              <p:nvPr/>
            </p:nvSpPr>
            <p:spPr>
              <a:xfrm>
                <a:off x="4476593" y="367660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2" name="Google Shape;1333;p104">
                <a:extLst>
                  <a:ext uri="{FF2B5EF4-FFF2-40B4-BE49-F238E27FC236}">
                    <a16:creationId xmlns:a16="http://schemas.microsoft.com/office/drawing/2014/main" id="{6893D8D9-32DD-CF92-2CC1-CE7B0500E134}"/>
                  </a:ext>
                </a:extLst>
              </p:cNvPr>
              <p:cNvSpPr/>
              <p:nvPr/>
            </p:nvSpPr>
            <p:spPr>
              <a:xfrm>
                <a:off x="3245175"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3" name="Google Shape;1334;p104">
                <a:extLst>
                  <a:ext uri="{FF2B5EF4-FFF2-40B4-BE49-F238E27FC236}">
                    <a16:creationId xmlns:a16="http://schemas.microsoft.com/office/drawing/2014/main" id="{C333FD2E-87B7-6B14-3D2B-9E4CCA21AA9E}"/>
                  </a:ext>
                </a:extLst>
              </p:cNvPr>
              <p:cNvSpPr/>
              <p:nvPr/>
            </p:nvSpPr>
            <p:spPr>
              <a:xfrm>
                <a:off x="3552941"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4" name="Google Shape;1335;p104">
                <a:extLst>
                  <a:ext uri="{FF2B5EF4-FFF2-40B4-BE49-F238E27FC236}">
                    <a16:creationId xmlns:a16="http://schemas.microsoft.com/office/drawing/2014/main" id="{416A71BF-C1C4-B629-38F7-60E0683827BE}"/>
                  </a:ext>
                </a:extLst>
              </p:cNvPr>
              <p:cNvSpPr/>
              <p:nvPr/>
            </p:nvSpPr>
            <p:spPr>
              <a:xfrm>
                <a:off x="3860707"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5" name="Google Shape;1336;p104">
                <a:extLst>
                  <a:ext uri="{FF2B5EF4-FFF2-40B4-BE49-F238E27FC236}">
                    <a16:creationId xmlns:a16="http://schemas.microsoft.com/office/drawing/2014/main" id="{98C5E74F-CC52-BDD5-5039-BC7A60803549}"/>
                  </a:ext>
                </a:extLst>
              </p:cNvPr>
              <p:cNvSpPr/>
              <p:nvPr/>
            </p:nvSpPr>
            <p:spPr>
              <a:xfrm>
                <a:off x="4168472" y="4061855"/>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46" name="Google Shape;1337;p104">
                <a:extLst>
                  <a:ext uri="{FF2B5EF4-FFF2-40B4-BE49-F238E27FC236}">
                    <a16:creationId xmlns:a16="http://schemas.microsoft.com/office/drawing/2014/main" id="{F5D8FDAD-571E-8BED-294E-116FD8CF6864}"/>
                  </a:ext>
                </a:extLst>
              </p:cNvPr>
              <p:cNvSpPr/>
              <p:nvPr/>
            </p:nvSpPr>
            <p:spPr>
              <a:xfrm>
                <a:off x="4476239"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7" name="Google Shape;1338;p104">
                <a:extLst>
                  <a:ext uri="{FF2B5EF4-FFF2-40B4-BE49-F238E27FC236}">
                    <a16:creationId xmlns:a16="http://schemas.microsoft.com/office/drawing/2014/main" id="{3B176C01-B35C-12A0-C785-76E84702C722}"/>
                  </a:ext>
                </a:extLst>
              </p:cNvPr>
              <p:cNvSpPr/>
              <p:nvPr/>
            </p:nvSpPr>
            <p:spPr>
              <a:xfrm>
                <a:off x="3245527" y="442944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8" name="Google Shape;1339;p104">
                <a:extLst>
                  <a:ext uri="{FF2B5EF4-FFF2-40B4-BE49-F238E27FC236}">
                    <a16:creationId xmlns:a16="http://schemas.microsoft.com/office/drawing/2014/main" id="{CBCCEA58-A032-F97E-E1D2-BA10AAA854E1}"/>
                  </a:ext>
                </a:extLst>
              </p:cNvPr>
              <p:cNvSpPr/>
              <p:nvPr/>
            </p:nvSpPr>
            <p:spPr>
              <a:xfrm>
                <a:off x="355329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49" name="Google Shape;1340;p104">
                <a:extLst>
                  <a:ext uri="{FF2B5EF4-FFF2-40B4-BE49-F238E27FC236}">
                    <a16:creationId xmlns:a16="http://schemas.microsoft.com/office/drawing/2014/main" id="{A13F8D29-D7AF-4059-F46B-DB7C1E8CA600}"/>
                  </a:ext>
                </a:extLst>
              </p:cNvPr>
              <p:cNvSpPr/>
              <p:nvPr/>
            </p:nvSpPr>
            <p:spPr>
              <a:xfrm>
                <a:off x="3861062"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0" name="Google Shape;1341;p104">
                <a:extLst>
                  <a:ext uri="{FF2B5EF4-FFF2-40B4-BE49-F238E27FC236}">
                    <a16:creationId xmlns:a16="http://schemas.microsoft.com/office/drawing/2014/main" id="{8B2A6E12-EE1D-E7A4-79CD-487DA302FC38}"/>
                  </a:ext>
                </a:extLst>
              </p:cNvPr>
              <p:cNvSpPr/>
              <p:nvPr/>
            </p:nvSpPr>
            <p:spPr>
              <a:xfrm>
                <a:off x="416882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1" name="Google Shape;1342;p104">
                <a:extLst>
                  <a:ext uri="{FF2B5EF4-FFF2-40B4-BE49-F238E27FC236}">
                    <a16:creationId xmlns:a16="http://schemas.microsoft.com/office/drawing/2014/main" id="{0B3E6690-78E2-CF8D-8F0F-EA15ECF5FBD6}"/>
                  </a:ext>
                </a:extLst>
              </p:cNvPr>
              <p:cNvSpPr/>
              <p:nvPr/>
            </p:nvSpPr>
            <p:spPr>
              <a:xfrm>
                <a:off x="4476594"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2" name="Google Shape;1343;p104">
                <a:extLst>
                  <a:ext uri="{FF2B5EF4-FFF2-40B4-BE49-F238E27FC236}">
                    <a16:creationId xmlns:a16="http://schemas.microsoft.com/office/drawing/2014/main" id="{7DDC9965-13FC-63C2-649C-6DD553949BEA}"/>
                  </a:ext>
                </a:extLst>
              </p:cNvPr>
              <p:cNvSpPr/>
              <p:nvPr/>
            </p:nvSpPr>
            <p:spPr>
              <a:xfrm>
                <a:off x="3241485"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3" name="Google Shape;1344;p104">
                <a:extLst>
                  <a:ext uri="{FF2B5EF4-FFF2-40B4-BE49-F238E27FC236}">
                    <a16:creationId xmlns:a16="http://schemas.microsoft.com/office/drawing/2014/main" id="{E8CD7EF2-FC5D-142D-E39A-979698AF67B5}"/>
                  </a:ext>
                </a:extLst>
              </p:cNvPr>
              <p:cNvSpPr/>
              <p:nvPr/>
            </p:nvSpPr>
            <p:spPr>
              <a:xfrm>
                <a:off x="3549251"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4" name="Google Shape;1345;p104">
                <a:extLst>
                  <a:ext uri="{FF2B5EF4-FFF2-40B4-BE49-F238E27FC236}">
                    <a16:creationId xmlns:a16="http://schemas.microsoft.com/office/drawing/2014/main" id="{A2738999-A52D-6EBC-35EB-31AA0796BD36}"/>
                  </a:ext>
                </a:extLst>
              </p:cNvPr>
              <p:cNvSpPr/>
              <p:nvPr/>
            </p:nvSpPr>
            <p:spPr>
              <a:xfrm>
                <a:off x="3857017"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5" name="Google Shape;1346;p104">
                <a:extLst>
                  <a:ext uri="{FF2B5EF4-FFF2-40B4-BE49-F238E27FC236}">
                    <a16:creationId xmlns:a16="http://schemas.microsoft.com/office/drawing/2014/main" id="{6F996561-7321-3323-DBAF-F6D9CE1FF309}"/>
                  </a:ext>
                </a:extLst>
              </p:cNvPr>
              <p:cNvSpPr/>
              <p:nvPr/>
            </p:nvSpPr>
            <p:spPr>
              <a:xfrm>
                <a:off x="4164782"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6" name="Google Shape;1347;p104">
                <a:extLst>
                  <a:ext uri="{FF2B5EF4-FFF2-40B4-BE49-F238E27FC236}">
                    <a16:creationId xmlns:a16="http://schemas.microsoft.com/office/drawing/2014/main" id="{5A3ED452-BE60-181F-9C97-203C7BF40DA7}"/>
                  </a:ext>
                </a:extLst>
              </p:cNvPr>
              <p:cNvSpPr/>
              <p:nvPr/>
            </p:nvSpPr>
            <p:spPr>
              <a:xfrm>
                <a:off x="4472549"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7" name="Google Shape;1348;p104">
                <a:extLst>
                  <a:ext uri="{FF2B5EF4-FFF2-40B4-BE49-F238E27FC236}">
                    <a16:creationId xmlns:a16="http://schemas.microsoft.com/office/drawing/2014/main" id="{1EC8989F-4D83-6D20-1012-6F5C584E9D6D}"/>
                  </a:ext>
                </a:extLst>
              </p:cNvPr>
              <p:cNvSpPr/>
              <p:nvPr/>
            </p:nvSpPr>
            <p:spPr>
              <a:xfrm>
                <a:off x="3241837" y="5165641"/>
                <a:ext cx="4290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8" name="Google Shape;1349;p104">
                <a:extLst>
                  <a:ext uri="{FF2B5EF4-FFF2-40B4-BE49-F238E27FC236}">
                    <a16:creationId xmlns:a16="http://schemas.microsoft.com/office/drawing/2014/main" id="{815DE183-7218-A4B1-B860-C06F4309AA3D}"/>
                  </a:ext>
                </a:extLst>
              </p:cNvPr>
              <p:cNvSpPr/>
              <p:nvPr/>
            </p:nvSpPr>
            <p:spPr>
              <a:xfrm>
                <a:off x="4294994" y="5165641"/>
                <a:ext cx="394801"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grpSp>
        <p:nvGrpSpPr>
          <p:cNvPr id="227"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CD4E07AF-5600-82A3-E8AC-221858721018}"/>
              </a:ext>
            </a:extLst>
          </p:cNvPr>
          <p:cNvGrpSpPr/>
          <p:nvPr/>
        </p:nvGrpSpPr>
        <p:grpSpPr>
          <a:xfrm>
            <a:off x="6324275" y="2036711"/>
            <a:ext cx="4702573" cy="3873681"/>
            <a:chOff x="2306020" y="2168083"/>
            <a:chExt cx="4702573" cy="3873681"/>
          </a:xfrm>
        </p:grpSpPr>
        <p:sp>
          <p:nvSpPr>
            <p:cNvPr id="228" name="TextBox 45">
              <a:extLst>
                <a:ext uri="{FF2B5EF4-FFF2-40B4-BE49-F238E27FC236}">
                  <a16:creationId xmlns:a16="http://schemas.microsoft.com/office/drawing/2014/main" id="{2C5C7B4D-E0D3-2A6C-661D-EE6F09B9B0CD}"/>
                </a:ext>
              </a:extLst>
            </p:cNvPr>
            <p:cNvSpPr txBox="1"/>
            <p:nvPr/>
          </p:nvSpPr>
          <p:spPr>
            <a:xfrm>
              <a:off x="3298779" y="2168083"/>
              <a:ext cx="2846395"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1200" cap="none" spc="0" normalizeH="0" baseline="0">
                  <a:ln>
                    <a:noFill/>
                  </a:ln>
                  <a:solidFill>
                    <a:srgbClr val="000000"/>
                  </a:solidFill>
                  <a:effectLst/>
                  <a:uLnTx/>
                  <a:uFillTx/>
                  <a:latin typeface="Avenir Next LT Pro" panose="020B0504020202020204" pitchFamily="34" charset="0"/>
                </a:rPr>
                <a:t>Unassigned Utilization</a:t>
              </a:r>
              <a:endParaRPr lang="en-CA" b="1" i="0" u="none" strike="noStrike" kern="1200" cap="none" spc="0" normalizeH="0" baseline="0">
                <a:ln>
                  <a:noFill/>
                </a:ln>
                <a:solidFill>
                  <a:srgbClr val="000000"/>
                </a:solidFill>
                <a:effectLst/>
                <a:uLnTx/>
                <a:uFillTx/>
                <a:latin typeface="Avenir Next LT Pro" panose="020B0504020202020204" pitchFamily="34" charset="0"/>
              </a:endParaRPr>
            </a:p>
          </p:txBody>
        </p:sp>
        <p:grpSp>
          <p:nvGrpSpPr>
            <p:cNvPr id="229" name="Google Shape;1309;p104">
              <a:extLst>
                <a:ext uri="{FF2B5EF4-FFF2-40B4-BE49-F238E27FC236}">
                  <a16:creationId xmlns:a16="http://schemas.microsoft.com/office/drawing/2014/main" id="{55ED023E-A6E0-9EC6-D06E-3F984796C7DA}"/>
                </a:ext>
              </a:extLst>
            </p:cNvPr>
            <p:cNvGrpSpPr/>
            <p:nvPr/>
          </p:nvGrpSpPr>
          <p:grpSpPr>
            <a:xfrm>
              <a:off x="2306020" y="2600213"/>
              <a:ext cx="4702573" cy="3441551"/>
              <a:chOff x="7398006" y="2595759"/>
              <a:chExt cx="3264414" cy="2478923"/>
            </a:xfrm>
          </p:grpSpPr>
          <p:grpSp>
            <p:nvGrpSpPr>
              <p:cNvPr id="261" name="Google Shape;1310;p104">
                <a:extLst>
                  <a:ext uri="{FF2B5EF4-FFF2-40B4-BE49-F238E27FC236}">
                    <a16:creationId xmlns:a16="http://schemas.microsoft.com/office/drawing/2014/main" id="{84687D3C-FA6B-460B-01F4-4DAD9CC781A5}"/>
                  </a:ext>
                </a:extLst>
              </p:cNvPr>
              <p:cNvGrpSpPr/>
              <p:nvPr/>
            </p:nvGrpSpPr>
            <p:grpSpPr>
              <a:xfrm>
                <a:off x="7398006" y="2595759"/>
                <a:ext cx="3264414" cy="2478923"/>
                <a:chOff x="7397719" y="2595653"/>
                <a:chExt cx="3817583" cy="2898986"/>
              </a:xfrm>
            </p:grpSpPr>
            <p:grpSp>
              <p:nvGrpSpPr>
                <p:cNvPr id="264" name="Google Shape;1311;p104">
                  <a:extLst>
                    <a:ext uri="{FF2B5EF4-FFF2-40B4-BE49-F238E27FC236}">
                      <a16:creationId xmlns:a16="http://schemas.microsoft.com/office/drawing/2014/main" id="{C43026BC-7468-7C75-B9A5-92293150B486}"/>
                    </a:ext>
                  </a:extLst>
                </p:cNvPr>
                <p:cNvGrpSpPr/>
                <p:nvPr/>
              </p:nvGrpSpPr>
              <p:grpSpPr>
                <a:xfrm>
                  <a:off x="7397719" y="2595653"/>
                  <a:ext cx="3817583" cy="2898986"/>
                  <a:chOff x="3782853" y="2244933"/>
                  <a:chExt cx="4750010" cy="3607050"/>
                </a:xfrm>
              </p:grpSpPr>
              <p:sp>
                <p:nvSpPr>
                  <p:cNvPr id="270" name="Google Shape;1312;p104">
                    <a:extLst>
                      <a:ext uri="{FF2B5EF4-FFF2-40B4-BE49-F238E27FC236}">
                        <a16:creationId xmlns:a16="http://schemas.microsoft.com/office/drawing/2014/main" id="{0BB0B903-0398-1747-E909-63479AA91B94}"/>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1" name="Google Shape;1313;p104">
                    <a:extLst>
                      <a:ext uri="{FF2B5EF4-FFF2-40B4-BE49-F238E27FC236}">
                        <a16:creationId xmlns:a16="http://schemas.microsoft.com/office/drawing/2014/main" id="{C1E84DF3-872F-A72C-5659-01A7AD938776}"/>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2" name="Google Shape;1314;p104">
                    <a:extLst>
                      <a:ext uri="{FF2B5EF4-FFF2-40B4-BE49-F238E27FC236}">
                        <a16:creationId xmlns:a16="http://schemas.microsoft.com/office/drawing/2014/main" id="{239C2953-20ED-42D4-85A3-0A74D4A3BA40}"/>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3" name="Google Shape;1315;p104">
                    <a:extLst>
                      <a:ext uri="{FF2B5EF4-FFF2-40B4-BE49-F238E27FC236}">
                        <a16:creationId xmlns:a16="http://schemas.microsoft.com/office/drawing/2014/main" id="{325B3BC7-41BB-12FE-D668-CB00D156F1F8}"/>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4" name="Google Shape;1316;p104">
                    <a:extLst>
                      <a:ext uri="{FF2B5EF4-FFF2-40B4-BE49-F238E27FC236}">
                        <a16:creationId xmlns:a16="http://schemas.microsoft.com/office/drawing/2014/main" id="{FD23ED44-65FB-0912-3705-68931A2ECAE1}"/>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5" name="Google Shape;1317;p104">
                    <a:extLst>
                      <a:ext uri="{FF2B5EF4-FFF2-40B4-BE49-F238E27FC236}">
                        <a16:creationId xmlns:a16="http://schemas.microsoft.com/office/drawing/2014/main" id="{4E8101E7-3FC2-1CFD-0CD0-1F258075DD6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6" name="Google Shape;1318;p104">
                    <a:extLst>
                      <a:ext uri="{FF2B5EF4-FFF2-40B4-BE49-F238E27FC236}">
                        <a16:creationId xmlns:a16="http://schemas.microsoft.com/office/drawing/2014/main" id="{BC3DA3B1-43F3-64FD-7B81-6C468CEEDCD1}"/>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7" name="Google Shape;1304;p104">
                    <a:extLst>
                      <a:ext uri="{FF2B5EF4-FFF2-40B4-BE49-F238E27FC236}">
                        <a16:creationId xmlns:a16="http://schemas.microsoft.com/office/drawing/2014/main" id="{7B97C51C-869D-F58B-42FA-0383319230BA}"/>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8" name="Google Shape;1319;p104">
                    <a:extLst>
                      <a:ext uri="{FF2B5EF4-FFF2-40B4-BE49-F238E27FC236}">
                        <a16:creationId xmlns:a16="http://schemas.microsoft.com/office/drawing/2014/main" id="{F42202AE-E304-7016-92B5-EF7B1A3B4262}"/>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9" name="Google Shape;1320;p104">
                    <a:extLst>
                      <a:ext uri="{FF2B5EF4-FFF2-40B4-BE49-F238E27FC236}">
                        <a16:creationId xmlns:a16="http://schemas.microsoft.com/office/drawing/2014/main" id="{73A0909A-ED2B-C87B-7CF6-71EDAD8CFF93}"/>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0" name="Google Shape;1321;p104">
                    <a:extLst>
                      <a:ext uri="{FF2B5EF4-FFF2-40B4-BE49-F238E27FC236}">
                        <a16:creationId xmlns:a16="http://schemas.microsoft.com/office/drawing/2014/main" id="{7EADF11C-EDAB-EEDF-BA45-B538D967C5FE}"/>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1" name="Google Shape;1322;p104">
                    <a:extLst>
                      <a:ext uri="{FF2B5EF4-FFF2-40B4-BE49-F238E27FC236}">
                        <a16:creationId xmlns:a16="http://schemas.microsoft.com/office/drawing/2014/main" id="{129B6DB9-4AD5-62E3-9639-5DA217C6F243}"/>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2" name="Google Shape;1297;p104">
                    <a:extLst>
                      <a:ext uri="{FF2B5EF4-FFF2-40B4-BE49-F238E27FC236}">
                        <a16:creationId xmlns:a16="http://schemas.microsoft.com/office/drawing/2014/main" id="{C06F4A97-7C7F-038E-35B2-2F180B5F2728}"/>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3" name="Google Shape;1323;p104">
                    <a:extLst>
                      <a:ext uri="{FF2B5EF4-FFF2-40B4-BE49-F238E27FC236}">
                        <a16:creationId xmlns:a16="http://schemas.microsoft.com/office/drawing/2014/main" id="{E49B93A2-878E-9FD3-DB7F-A50CC5A08780}"/>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4" name="Google Shape;1324;p104">
                    <a:extLst>
                      <a:ext uri="{FF2B5EF4-FFF2-40B4-BE49-F238E27FC236}">
                        <a16:creationId xmlns:a16="http://schemas.microsoft.com/office/drawing/2014/main" id="{E7E32919-A3D2-371F-02E9-51C95F5DD416}"/>
                      </a:ext>
                    </a:extLst>
                  </p:cNvPr>
                  <p:cNvSpPr/>
                  <p:nvPr/>
                </p:nvSpPr>
                <p:spPr>
                  <a:xfrm>
                    <a:off x="4719954"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5" name="Google Shape;1325;p104">
                    <a:extLst>
                      <a:ext uri="{FF2B5EF4-FFF2-40B4-BE49-F238E27FC236}">
                        <a16:creationId xmlns:a16="http://schemas.microsoft.com/office/drawing/2014/main" id="{16404AA8-FF8E-40B6-4022-A3C090A23FA9}"/>
                      </a:ext>
                    </a:extLst>
                  </p:cNvPr>
                  <p:cNvSpPr/>
                  <p:nvPr/>
                </p:nvSpPr>
                <p:spPr>
                  <a:xfrm>
                    <a:off x="5027720"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6" name="Google Shape;1326;p104">
                    <a:extLst>
                      <a:ext uri="{FF2B5EF4-FFF2-40B4-BE49-F238E27FC236}">
                        <a16:creationId xmlns:a16="http://schemas.microsoft.com/office/drawing/2014/main" id="{96729DA1-3915-A587-C4E7-7739DEE662F1}"/>
                      </a:ext>
                    </a:extLst>
                  </p:cNvPr>
                  <p:cNvSpPr/>
                  <p:nvPr/>
                </p:nvSpPr>
                <p:spPr>
                  <a:xfrm>
                    <a:off x="5335486"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7" name="Google Shape;1327;p104">
                    <a:extLst>
                      <a:ext uri="{FF2B5EF4-FFF2-40B4-BE49-F238E27FC236}">
                        <a16:creationId xmlns:a16="http://schemas.microsoft.com/office/drawing/2014/main" id="{A4513DF9-FEE8-B0EE-C49A-16CCE8083760}"/>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8" name="Google Shape;1328;p104">
                    <a:extLst>
                      <a:ext uri="{FF2B5EF4-FFF2-40B4-BE49-F238E27FC236}">
                        <a16:creationId xmlns:a16="http://schemas.microsoft.com/office/drawing/2014/main" id="{1274EF2F-97C7-FD01-3B52-F78BAA6F44F3}"/>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289" name="Google Shape;1329;p104">
                    <a:extLst>
                      <a:ext uri="{FF2B5EF4-FFF2-40B4-BE49-F238E27FC236}">
                        <a16:creationId xmlns:a16="http://schemas.microsoft.com/office/drawing/2014/main" id="{4221D947-470C-5A88-4D50-4833A5B70890}"/>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0" name="Google Shape;1330;p104">
                    <a:extLst>
                      <a:ext uri="{FF2B5EF4-FFF2-40B4-BE49-F238E27FC236}">
                        <a16:creationId xmlns:a16="http://schemas.microsoft.com/office/drawing/2014/main" id="{3677BDF7-7497-A3AA-B43C-BDC81649F70B}"/>
                      </a:ext>
                    </a:extLst>
                  </p:cNvPr>
                  <p:cNvSpPr/>
                  <p:nvPr/>
                </p:nvSpPr>
                <p:spPr>
                  <a:xfrm>
                    <a:off x="5036914"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1" name="Google Shape;1331;p104">
                    <a:extLst>
                      <a:ext uri="{FF2B5EF4-FFF2-40B4-BE49-F238E27FC236}">
                        <a16:creationId xmlns:a16="http://schemas.microsoft.com/office/drawing/2014/main" id="{3720CD43-0D89-998D-0225-4FEC2C93EA5E}"/>
                      </a:ext>
                    </a:extLst>
                  </p:cNvPr>
                  <p:cNvSpPr/>
                  <p:nvPr/>
                </p:nvSpPr>
                <p:spPr>
                  <a:xfrm>
                    <a:off x="5344680"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2" name="Google Shape;1332;p104">
                    <a:extLst>
                      <a:ext uri="{FF2B5EF4-FFF2-40B4-BE49-F238E27FC236}">
                        <a16:creationId xmlns:a16="http://schemas.microsoft.com/office/drawing/2014/main" id="{A4F493CE-E510-AF43-0BB4-F73F9E0E5863}"/>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3" name="Google Shape;1333;p104">
                    <a:extLst>
                      <a:ext uri="{FF2B5EF4-FFF2-40B4-BE49-F238E27FC236}">
                        <a16:creationId xmlns:a16="http://schemas.microsoft.com/office/drawing/2014/main" id="{A036B082-257B-D590-20A8-A38E4C380989}"/>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4" name="Google Shape;1334;p104">
                    <a:extLst>
                      <a:ext uri="{FF2B5EF4-FFF2-40B4-BE49-F238E27FC236}">
                        <a16:creationId xmlns:a16="http://schemas.microsoft.com/office/drawing/2014/main" id="{AD1B518F-B0B9-84B8-C30B-01BABACDC3D1}"/>
                      </a:ext>
                    </a:extLst>
                  </p:cNvPr>
                  <p:cNvSpPr/>
                  <p:nvPr/>
                </p:nvSpPr>
                <p:spPr>
                  <a:xfrm>
                    <a:off x="4734085"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5" name="Google Shape;1335;p104">
                    <a:extLst>
                      <a:ext uri="{FF2B5EF4-FFF2-40B4-BE49-F238E27FC236}">
                        <a16:creationId xmlns:a16="http://schemas.microsoft.com/office/drawing/2014/main" id="{EB68446C-945A-6ADF-3CE9-D30D879C6230}"/>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6" name="Google Shape;1336;p104">
                    <a:extLst>
                      <a:ext uri="{FF2B5EF4-FFF2-40B4-BE49-F238E27FC236}">
                        <a16:creationId xmlns:a16="http://schemas.microsoft.com/office/drawing/2014/main" id="{2492619A-C3B3-556D-BB47-861CDACA10FB}"/>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297" name="Google Shape;1337;p104">
                    <a:extLst>
                      <a:ext uri="{FF2B5EF4-FFF2-40B4-BE49-F238E27FC236}">
                        <a16:creationId xmlns:a16="http://schemas.microsoft.com/office/drawing/2014/main" id="{C30C9C55-3D44-2CD4-FCA1-D74BADC6B2E4}"/>
                      </a:ext>
                    </a:extLst>
                  </p:cNvPr>
                  <p:cNvSpPr/>
                  <p:nvPr/>
                </p:nvSpPr>
                <p:spPr>
                  <a:xfrm>
                    <a:off x="5657383"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8" name="Google Shape;1338;p104">
                    <a:extLst>
                      <a:ext uri="{FF2B5EF4-FFF2-40B4-BE49-F238E27FC236}">
                        <a16:creationId xmlns:a16="http://schemas.microsoft.com/office/drawing/2014/main" id="{49C95C00-4B7F-CA58-5AF2-082B42759803}"/>
                      </a:ext>
                    </a:extLst>
                  </p:cNvPr>
                  <p:cNvSpPr/>
                  <p:nvPr/>
                </p:nvSpPr>
                <p:spPr>
                  <a:xfrm>
                    <a:off x="4421382" y="4406686"/>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9" name="Google Shape;1339;p104">
                    <a:extLst>
                      <a:ext uri="{FF2B5EF4-FFF2-40B4-BE49-F238E27FC236}">
                        <a16:creationId xmlns:a16="http://schemas.microsoft.com/office/drawing/2014/main" id="{DDA29F15-71FD-4003-42A2-886ED3F2FFDA}"/>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0" name="Google Shape;1340;p104">
                    <a:extLst>
                      <a:ext uri="{FF2B5EF4-FFF2-40B4-BE49-F238E27FC236}">
                        <a16:creationId xmlns:a16="http://schemas.microsoft.com/office/drawing/2014/main" id="{3B5E7367-27BE-841E-BFF6-2EE465A8DDB3}"/>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1" name="Google Shape;1341;p104">
                    <a:extLst>
                      <a:ext uri="{FF2B5EF4-FFF2-40B4-BE49-F238E27FC236}">
                        <a16:creationId xmlns:a16="http://schemas.microsoft.com/office/drawing/2014/main" id="{54917BA4-35E9-EC20-1F6B-90754EFA42FF}"/>
                      </a:ext>
                    </a:extLst>
                  </p:cNvPr>
                  <p:cNvSpPr/>
                  <p:nvPr/>
                </p:nvSpPr>
                <p:spPr>
                  <a:xfrm>
                    <a:off x="5344681"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2" name="Google Shape;1342;p104">
                    <a:extLst>
                      <a:ext uri="{FF2B5EF4-FFF2-40B4-BE49-F238E27FC236}">
                        <a16:creationId xmlns:a16="http://schemas.microsoft.com/office/drawing/2014/main" id="{C3416265-BDEF-8331-B39A-01D86E0CB5C6}"/>
                      </a:ext>
                    </a:extLst>
                  </p:cNvPr>
                  <p:cNvSpPr/>
                  <p:nvPr/>
                </p:nvSpPr>
                <p:spPr>
                  <a:xfrm>
                    <a:off x="5652447"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3" name="Google Shape;1343;p104">
                    <a:extLst>
                      <a:ext uri="{FF2B5EF4-FFF2-40B4-BE49-F238E27FC236}">
                        <a16:creationId xmlns:a16="http://schemas.microsoft.com/office/drawing/2014/main" id="{5C1649E8-3E17-F69A-9C9D-06491250E0B4}"/>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4" name="Google Shape;1344;p104">
                    <a:extLst>
                      <a:ext uri="{FF2B5EF4-FFF2-40B4-BE49-F238E27FC236}">
                        <a16:creationId xmlns:a16="http://schemas.microsoft.com/office/drawing/2014/main" id="{8FF39E85-EA61-3AF9-E36F-A2A41D7C536F}"/>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5" name="Google Shape;1345;p104">
                    <a:extLst>
                      <a:ext uri="{FF2B5EF4-FFF2-40B4-BE49-F238E27FC236}">
                        <a16:creationId xmlns:a16="http://schemas.microsoft.com/office/drawing/2014/main" id="{FEFE2669-FC11-1E25-1660-19113C3702FD}"/>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6" name="Google Shape;1346;p104">
                    <a:extLst>
                      <a:ext uri="{FF2B5EF4-FFF2-40B4-BE49-F238E27FC236}">
                        <a16:creationId xmlns:a16="http://schemas.microsoft.com/office/drawing/2014/main" id="{7FC99DFE-CB17-B304-2692-3FD0448BAB43}"/>
                      </a:ext>
                    </a:extLst>
                  </p:cNvPr>
                  <p:cNvSpPr/>
                  <p:nvPr/>
                </p:nvSpPr>
                <p:spPr>
                  <a:xfrm>
                    <a:off x="5345927"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7" name="Google Shape;1347;p104">
                    <a:extLst>
                      <a:ext uri="{FF2B5EF4-FFF2-40B4-BE49-F238E27FC236}">
                        <a16:creationId xmlns:a16="http://schemas.microsoft.com/office/drawing/2014/main" id="{0F034014-6239-3A54-2E9F-86292770154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8" name="Google Shape;1348;p104">
                    <a:extLst>
                      <a:ext uri="{FF2B5EF4-FFF2-40B4-BE49-F238E27FC236}">
                        <a16:creationId xmlns:a16="http://schemas.microsoft.com/office/drawing/2014/main" id="{1D4B8F6B-145B-6B0E-22E7-C36922CADBED}"/>
                      </a:ext>
                    </a:extLst>
                  </p:cNvPr>
                  <p:cNvSpPr/>
                  <p:nvPr/>
                </p:nvSpPr>
                <p:spPr>
                  <a:xfrm>
                    <a:off x="4417692" y="5142881"/>
                    <a:ext cx="4290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9" name="Google Shape;1349;p104">
                    <a:extLst>
                      <a:ext uri="{FF2B5EF4-FFF2-40B4-BE49-F238E27FC236}">
                        <a16:creationId xmlns:a16="http://schemas.microsoft.com/office/drawing/2014/main" id="{8236CE7B-D61F-E26F-7401-452B27D8DC31}"/>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10" name="Google Shape;1350;p104">
                    <a:extLst>
                      <a:ext uri="{FF2B5EF4-FFF2-40B4-BE49-F238E27FC236}">
                        <a16:creationId xmlns:a16="http://schemas.microsoft.com/office/drawing/2014/main" id="{66D5FCE9-5B03-0A50-3AA2-ACC0414A949C}"/>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sp>
              <p:nvSpPr>
                <p:cNvPr id="265" name="Google Shape;1351;p104">
                  <a:extLst>
                    <a:ext uri="{FF2B5EF4-FFF2-40B4-BE49-F238E27FC236}">
                      <a16:creationId xmlns:a16="http://schemas.microsoft.com/office/drawing/2014/main" id="{1A767E50-0F77-BF9A-2448-3A320B5D26A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66" name="Google Shape;1352;p104">
                  <a:extLst>
                    <a:ext uri="{FF2B5EF4-FFF2-40B4-BE49-F238E27FC236}">
                      <a16:creationId xmlns:a16="http://schemas.microsoft.com/office/drawing/2014/main" id="{17AFEB20-076E-A228-3226-D82B48759F7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nvGrpSpPr>
                <p:cNvPr id="267" name="Google Shape;1353;p104">
                  <a:extLst>
                    <a:ext uri="{FF2B5EF4-FFF2-40B4-BE49-F238E27FC236}">
                      <a16:creationId xmlns:a16="http://schemas.microsoft.com/office/drawing/2014/main" id="{E4D23994-3511-2B97-4899-ED589D1D8E98}"/>
                    </a:ext>
                  </a:extLst>
                </p:cNvPr>
                <p:cNvGrpSpPr/>
                <p:nvPr/>
              </p:nvGrpSpPr>
              <p:grpSpPr>
                <a:xfrm>
                  <a:off x="7402085" y="4400279"/>
                  <a:ext cx="306080" cy="1067964"/>
                  <a:chOff x="3146566" y="4705830"/>
                  <a:chExt cx="275700" cy="823920"/>
                </a:xfrm>
              </p:grpSpPr>
              <p:sp>
                <p:nvSpPr>
                  <p:cNvPr id="268" name="Google Shape;1354;p104">
                    <a:extLst>
                      <a:ext uri="{FF2B5EF4-FFF2-40B4-BE49-F238E27FC236}">
                        <a16:creationId xmlns:a16="http://schemas.microsoft.com/office/drawing/2014/main" id="{258B65CB-D247-F9E1-EDCA-FEA6F66FE970}"/>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69" name="Google Shape;1355;p104">
                    <a:extLst>
                      <a:ext uri="{FF2B5EF4-FFF2-40B4-BE49-F238E27FC236}">
                        <a16:creationId xmlns:a16="http://schemas.microsoft.com/office/drawing/2014/main" id="{531B218B-C9A8-F848-9B87-8D658B87F433}"/>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pic>
            <p:nvPicPr>
              <p:cNvPr id="262" name="Google Shape;1356;p104" descr="Picnic table with solid fill">
                <a:extLst>
                  <a:ext uri="{FF2B5EF4-FFF2-40B4-BE49-F238E27FC236}">
                    <a16:creationId xmlns:a16="http://schemas.microsoft.com/office/drawing/2014/main" id="{A27F34E5-B66C-61A7-94D0-C691541E6BFF}"/>
                  </a:ext>
                </a:extLst>
              </p:cNvPr>
              <p:cNvPicPr preferRelativeResize="0"/>
              <p:nvPr/>
            </p:nvPicPr>
            <p:blipFill rotWithShape="1">
              <a:blip r:embed="rId2">
                <a:alphaModFix/>
              </a:blip>
              <a:srcRect/>
              <a:stretch/>
            </p:blipFill>
            <p:spPr>
              <a:xfrm>
                <a:off x="8854378" y="4753095"/>
                <a:ext cx="261700" cy="261700"/>
              </a:xfrm>
              <a:prstGeom prst="rect">
                <a:avLst/>
              </a:prstGeom>
              <a:noFill/>
              <a:ln>
                <a:noFill/>
              </a:ln>
            </p:spPr>
          </p:pic>
          <p:sp>
            <p:nvSpPr>
              <p:cNvPr id="263" name="Google Shape;1357;p104" descr="Bicycle Icon">
                <a:extLst>
                  <a:ext uri="{FF2B5EF4-FFF2-40B4-BE49-F238E27FC236}">
                    <a16:creationId xmlns:a16="http://schemas.microsoft.com/office/drawing/2014/main" id="{D73D1805-F830-5576-8486-46AF09F304F0}"/>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sz="1800">
                  <a:solidFill>
                    <a:srgbClr val="000000"/>
                  </a:solidFill>
                  <a:latin typeface="Avenir Next LT Pro" panose="020B0504020202020204" pitchFamily="34" charset="0"/>
                  <a:ea typeface="Arial"/>
                  <a:cs typeface="Arial"/>
                  <a:sym typeface="Arial"/>
                </a:endParaRPr>
              </a:p>
            </p:txBody>
          </p:sp>
        </p:grpSp>
        <p:grpSp>
          <p:nvGrpSpPr>
            <p:cNvPr id="230" name="Google Shape;1311;p104">
              <a:extLst>
                <a:ext uri="{FF2B5EF4-FFF2-40B4-BE49-F238E27FC236}">
                  <a16:creationId xmlns:a16="http://schemas.microsoft.com/office/drawing/2014/main" id="{1C4847AD-FE06-E551-7752-60670ECFA86A}"/>
                </a:ext>
              </a:extLst>
            </p:cNvPr>
            <p:cNvGrpSpPr/>
            <p:nvPr/>
          </p:nvGrpSpPr>
          <p:grpSpPr>
            <a:xfrm>
              <a:off x="4842257" y="3259133"/>
              <a:ext cx="1725893" cy="2630199"/>
              <a:chOff x="3065624" y="2941929"/>
              <a:chExt cx="1743300" cy="2756680"/>
            </a:xfrm>
          </p:grpSpPr>
          <p:sp>
            <p:nvSpPr>
              <p:cNvPr id="231" name="Google Shape;1312;p104">
                <a:extLst>
                  <a:ext uri="{FF2B5EF4-FFF2-40B4-BE49-F238E27FC236}">
                    <a16:creationId xmlns:a16="http://schemas.microsoft.com/office/drawing/2014/main" id="{6FBD3BC9-B2A2-779B-12B9-885937EE9E2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32" name="Google Shape;1313;p104">
                <a:extLst>
                  <a:ext uri="{FF2B5EF4-FFF2-40B4-BE49-F238E27FC236}">
                    <a16:creationId xmlns:a16="http://schemas.microsoft.com/office/drawing/2014/main" id="{FF065F58-F2EC-0948-DEE7-13DEBE3A1792}"/>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33" name="Google Shape;1314;p104">
                <a:extLst>
                  <a:ext uri="{FF2B5EF4-FFF2-40B4-BE49-F238E27FC236}">
                    <a16:creationId xmlns:a16="http://schemas.microsoft.com/office/drawing/2014/main" id="{4DB2FB09-DEBD-AFCE-699F-3C6EF9579BC7}"/>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sp>
        <p:nvSpPr>
          <p:cNvPr id="311" name="TextBox 310">
            <a:extLst>
              <a:ext uri="{FF2B5EF4-FFF2-40B4-BE49-F238E27FC236}">
                <a16:creationId xmlns:a16="http://schemas.microsoft.com/office/drawing/2014/main" id="{7F17BAD9-B2D7-AE7A-CCDA-9D497073F97B}"/>
              </a:ext>
            </a:extLst>
          </p:cNvPr>
          <p:cNvSpPr txBox="1"/>
          <p:nvPr/>
        </p:nvSpPr>
        <p:spPr>
          <a:xfrm>
            <a:off x="9004541" y="3402768"/>
            <a:ext cx="1478150" cy="1754326"/>
          </a:xfrm>
          <a:prstGeom prst="rect">
            <a:avLst/>
          </a:prstGeom>
          <a:noFill/>
        </p:spPr>
        <p:txBody>
          <a:bodyPr wrap="square" rtlCol="0">
            <a:spAutoFit/>
          </a:bodyPr>
          <a:lstStyle/>
          <a:p>
            <a:pPr algn="ctr">
              <a:defRPr/>
            </a:pPr>
            <a:r>
              <a:rPr lang="en-CA" b="1">
                <a:solidFill>
                  <a:srgbClr val="000000"/>
                </a:solidFill>
                <a:latin typeface="Avenir Next LT Pro" panose="020B0504020202020204" pitchFamily="34" charset="0"/>
              </a:rPr>
              <a:t>Divested with potential for converting into homes</a:t>
            </a:r>
          </a:p>
        </p:txBody>
      </p:sp>
    </p:spTree>
    <p:extLst>
      <p:ext uri="{BB962C8B-B14F-4D97-AF65-F5344CB8AC3E}">
        <p14:creationId xmlns:p14="http://schemas.microsoft.com/office/powerpoint/2010/main" val="31941852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nvPr>
        </p:nvSpPr>
        <p:spPr/>
        <p:txBody>
          <a:bodyPr>
            <a:normAutofit/>
          </a:bodyPr>
          <a:lstStyle/>
          <a:p>
            <a:r>
              <a:rPr lang="fr-CA" dirty="0"/>
              <a:t>Our vision</a:t>
            </a:r>
            <a:endParaRPr lang="en-CA" dirty="0"/>
          </a:p>
        </p:txBody>
      </p:sp>
      <p:sp>
        <p:nvSpPr>
          <p:cNvPr id="3" name="ZoneTexte 2">
            <a:extLst>
              <a:ext uri="{FF2B5EF4-FFF2-40B4-BE49-F238E27FC236}">
                <a16:creationId xmlns:a16="http://schemas.microsoft.com/office/drawing/2014/main" id="{6E6CE6DC-0817-8A8E-1F32-841455836C35}"/>
              </a:ext>
            </a:extLst>
          </p:cNvPr>
          <p:cNvSpPr txBox="1"/>
          <p:nvPr/>
        </p:nvSpPr>
        <p:spPr>
          <a:xfrm>
            <a:off x="617838" y="1940011"/>
            <a:ext cx="5955957" cy="369332"/>
          </a:xfrm>
          <a:prstGeom prst="rect">
            <a:avLst/>
          </a:prstGeom>
          <a:noFill/>
        </p:spPr>
        <p:txBody>
          <a:bodyPr wrap="square" rtlCol="0">
            <a:spAutoFit/>
          </a:bodyPr>
          <a:lstStyle/>
          <a:p>
            <a:r>
              <a:rPr lang="fr-CA" dirty="0">
                <a:highlight>
                  <a:srgbClr val="FFFF00"/>
                </a:highlight>
              </a:rPr>
              <a:t>Insert the </a:t>
            </a:r>
            <a:r>
              <a:rPr lang="fr-CA" dirty="0" err="1">
                <a:highlight>
                  <a:srgbClr val="FFFF00"/>
                </a:highlight>
              </a:rPr>
              <a:t>project’s</a:t>
            </a:r>
            <a:r>
              <a:rPr lang="fr-CA" dirty="0">
                <a:highlight>
                  <a:srgbClr val="FFFF00"/>
                </a:highlight>
              </a:rPr>
              <a:t> vision</a:t>
            </a:r>
          </a:p>
        </p:txBody>
      </p:sp>
    </p:spTree>
    <p:extLst>
      <p:ext uri="{BB962C8B-B14F-4D97-AF65-F5344CB8AC3E}">
        <p14:creationId xmlns:p14="http://schemas.microsoft.com/office/powerpoint/2010/main" val="223308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nvPr>
        </p:nvSpPr>
        <p:spPr/>
        <p:txBody>
          <a:bodyPr>
            <a:normAutofit/>
          </a:bodyPr>
          <a:lstStyle/>
          <a:p>
            <a:r>
              <a:rPr lang="fr-CA" dirty="0"/>
              <a:t>W</a:t>
            </a:r>
            <a:r>
              <a:rPr lang="en-CA" dirty="0"/>
              <a:t>hat does it mean for our organization</a:t>
            </a:r>
          </a:p>
        </p:txBody>
      </p:sp>
      <p:grpSp>
        <p:nvGrpSpPr>
          <p:cNvPr id="119" name="Gruppieren 269">
            <a:extLst>
              <a:ext uri="{FF2B5EF4-FFF2-40B4-BE49-F238E27FC236}">
                <a16:creationId xmlns:a16="http://schemas.microsoft.com/office/drawing/2014/main" id="{35030E9D-B4CE-0B9D-28C2-9F05C1F829FA}"/>
              </a:ext>
              <a:ext uri="{C183D7F6-B498-43B3-948B-1728B52AA6E4}">
                <adec:decorative xmlns:adec="http://schemas.microsoft.com/office/drawing/2017/decorative" val="1"/>
              </a:ext>
            </a:extLst>
          </p:cNvPr>
          <p:cNvGrpSpPr>
            <a:grpSpLocks noChangeAspect="1"/>
          </p:cNvGrpSpPr>
          <p:nvPr/>
        </p:nvGrpSpPr>
        <p:grpSpPr bwMode="gray">
          <a:xfrm>
            <a:off x="1523526" y="1690762"/>
            <a:ext cx="603603" cy="480230"/>
            <a:chOff x="7230825" y="5801578"/>
            <a:chExt cx="541734" cy="431006"/>
          </a:xfrm>
          <a:solidFill>
            <a:schemeClr val="tx2">
              <a:lumMod val="75000"/>
            </a:schemeClr>
          </a:solidFill>
        </p:grpSpPr>
        <p:sp>
          <p:nvSpPr>
            <p:cNvPr id="144" name="Freeform 1546">
              <a:extLst>
                <a:ext uri="{FF2B5EF4-FFF2-40B4-BE49-F238E27FC236}">
                  <a16:creationId xmlns:a16="http://schemas.microsoft.com/office/drawing/2014/main" id="{1890C364-13EC-8AA3-D9B8-25BECFFB618D}"/>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sp>
          <p:nvSpPr>
            <p:cNvPr id="145" name="Freeform 1547">
              <a:extLst>
                <a:ext uri="{FF2B5EF4-FFF2-40B4-BE49-F238E27FC236}">
                  <a16:creationId xmlns:a16="http://schemas.microsoft.com/office/drawing/2014/main" id="{241CF055-B551-C738-8FF7-32A5EE06315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sp>
          <p:nvSpPr>
            <p:cNvPr id="146" name="Freeform 1548">
              <a:extLst>
                <a:ext uri="{FF2B5EF4-FFF2-40B4-BE49-F238E27FC236}">
                  <a16:creationId xmlns:a16="http://schemas.microsoft.com/office/drawing/2014/main" id="{0F0337CF-E057-1035-701B-8D0F6E4ED81A}"/>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sp>
          <p:nvSpPr>
            <p:cNvPr id="147" name="Freeform 1549">
              <a:extLst>
                <a:ext uri="{FF2B5EF4-FFF2-40B4-BE49-F238E27FC236}">
                  <a16:creationId xmlns:a16="http://schemas.microsoft.com/office/drawing/2014/main" id="{343636E2-B99B-D259-C2B5-8C58D458FF2E}"/>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sp>
          <p:nvSpPr>
            <p:cNvPr id="148" name="Freeform 1550">
              <a:extLst>
                <a:ext uri="{FF2B5EF4-FFF2-40B4-BE49-F238E27FC236}">
                  <a16:creationId xmlns:a16="http://schemas.microsoft.com/office/drawing/2014/main" id="{216AECD0-CB3C-DCEC-EA7D-EF9B06A71D9F}"/>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grpSp>
      <p:sp>
        <p:nvSpPr>
          <p:cNvPr id="117" name="Rectangle 116">
            <a:extLst>
              <a:ext uri="{FF2B5EF4-FFF2-40B4-BE49-F238E27FC236}">
                <a16:creationId xmlns:a16="http://schemas.microsoft.com/office/drawing/2014/main" id="{C9DAC2A6-C89F-2DC3-5552-32890189A83F}"/>
              </a:ext>
            </a:extLst>
          </p:cNvPr>
          <p:cNvSpPr/>
          <p:nvPr/>
        </p:nvSpPr>
        <p:spPr>
          <a:xfrm>
            <a:off x="2301842" y="1766378"/>
            <a:ext cx="1491185" cy="4046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dirty="0">
                <a:solidFill>
                  <a:schemeClr val="bg1"/>
                </a:solidFill>
                <a:latin typeface="Avenir Next LT Pro" panose="020B0504020202020204" pitchFamily="34" charset="0"/>
              </a:rPr>
              <a:t>N</a:t>
            </a:r>
            <a:r>
              <a:rPr lang="en-CA" b="1" dirty="0">
                <a:solidFill>
                  <a:schemeClr val="bg1"/>
                </a:solidFill>
                <a:latin typeface="Avenir Next LT Pro" panose="020B0504020202020204" pitchFamily="34" charset="0"/>
              </a:rPr>
              <a:t>ow</a:t>
            </a:r>
            <a:endParaRPr kumimoji="0" lang="en-CA" sz="1800" b="1"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sp>
        <p:nvSpPr>
          <p:cNvPr id="122" name="Rectangle: Rounded Corners 248">
            <a:extLst>
              <a:ext uri="{FF2B5EF4-FFF2-40B4-BE49-F238E27FC236}">
                <a16:creationId xmlns:a16="http://schemas.microsoft.com/office/drawing/2014/main" id="{A9D90BF1-5FA9-70F0-2114-74B647F61343}"/>
              </a:ext>
            </a:extLst>
          </p:cNvPr>
          <p:cNvSpPr/>
          <p:nvPr/>
        </p:nvSpPr>
        <p:spPr>
          <a:xfrm>
            <a:off x="792054" y="2445695"/>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Address</a:t>
            </a:r>
            <a:endParaRPr lang="fr-CA" sz="1600" dirty="0">
              <a:solidFill>
                <a:srgbClr val="FF0000"/>
              </a:solidFill>
              <a:highlight>
                <a:srgbClr val="FFFF00"/>
              </a:highlight>
              <a:latin typeface="Avenir Next LT Pro" panose="020B0504020202020204" pitchFamily="34" charset="0"/>
            </a:endParaRPr>
          </a:p>
        </p:txBody>
      </p:sp>
      <p:sp>
        <p:nvSpPr>
          <p:cNvPr id="123" name="Rectangle: Rounded Corners 249">
            <a:extLst>
              <a:ext uri="{FF2B5EF4-FFF2-40B4-BE49-F238E27FC236}">
                <a16:creationId xmlns:a16="http://schemas.microsoft.com/office/drawing/2014/main" id="{96958ADE-A4CF-B97E-6CC3-E67FA3D6703E}"/>
              </a:ext>
            </a:extLst>
          </p:cNvPr>
          <p:cNvSpPr/>
          <p:nvPr/>
        </p:nvSpPr>
        <p:spPr>
          <a:xfrm>
            <a:off x="792053" y="3007585"/>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dirty="0" err="1">
                <a:solidFill>
                  <a:schemeClr val="tx1"/>
                </a:solidFill>
                <a:latin typeface="Avenir Next LT Pro" panose="020B0504020202020204" pitchFamily="34" charset="0"/>
              </a:rPr>
              <a:t>Number</a:t>
            </a:r>
            <a:r>
              <a:rPr lang="fr-CA" sz="1600" dirty="0">
                <a:solidFill>
                  <a:schemeClr val="tx1"/>
                </a:solidFill>
                <a:latin typeface="Avenir Next LT Pro" panose="020B0504020202020204" pitchFamily="34" charset="0"/>
              </a:rPr>
              <a:t> of </a:t>
            </a:r>
            <a:r>
              <a:rPr lang="fr-CA" sz="1600" dirty="0" err="1">
                <a:solidFill>
                  <a:schemeClr val="tx1"/>
                </a:solidFill>
                <a:latin typeface="Avenir Next LT Pro" panose="020B0504020202020204" pitchFamily="34" charset="0"/>
              </a:rPr>
              <a:t>floors</a:t>
            </a:r>
            <a:endParaRPr lang="fr-CA" sz="1600" dirty="0">
              <a:solidFill>
                <a:schemeClr val="tx1"/>
              </a:solidFill>
              <a:latin typeface="Avenir Next LT Pro" panose="020B0504020202020204" pitchFamily="34" charset="0"/>
            </a:endParaRPr>
          </a:p>
        </p:txBody>
      </p:sp>
      <p:sp>
        <p:nvSpPr>
          <p:cNvPr id="115" name="Rectangle: Rounded Corners 152" descr="Assigned workstation for one individual">
            <a:extLst>
              <a:ext uri="{FF2B5EF4-FFF2-40B4-BE49-F238E27FC236}">
                <a16:creationId xmlns:a16="http://schemas.microsoft.com/office/drawing/2014/main" id="{99B313E4-68F8-0E05-784F-777B53C53AD8}"/>
              </a:ext>
            </a:extLst>
          </p:cNvPr>
          <p:cNvSpPr/>
          <p:nvPr/>
        </p:nvSpPr>
        <p:spPr>
          <a:xfrm>
            <a:off x="792053" y="3676943"/>
            <a:ext cx="3583251" cy="1159713"/>
          </a:xfrm>
          <a:prstGeom prst="roundRect">
            <a:avLst>
              <a:gd name="adj" fmla="val 5112"/>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a:p>
        </p:txBody>
      </p:sp>
      <p:sp>
        <p:nvSpPr>
          <p:cNvPr id="130" name="TextBox 151">
            <a:extLst>
              <a:ext uri="{FF2B5EF4-FFF2-40B4-BE49-F238E27FC236}">
                <a16:creationId xmlns:a16="http://schemas.microsoft.com/office/drawing/2014/main" id="{37927CF3-81AF-9EC4-5FAE-0F465D84F953}"/>
              </a:ext>
              <a:ext uri="{C183D7F6-B498-43B3-948B-1728B52AA6E4}">
                <adec:decorative xmlns:adec="http://schemas.microsoft.com/office/drawing/2017/decorative" val="1"/>
              </a:ext>
            </a:extLst>
          </p:cNvPr>
          <p:cNvSpPr txBox="1"/>
          <p:nvPr/>
        </p:nvSpPr>
        <p:spPr>
          <a:xfrm>
            <a:off x="1067402" y="3964411"/>
            <a:ext cx="1515851" cy="58477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600" b="1">
                <a:latin typeface="Avenir Next LT Pro" panose="020B0504020202020204" pitchFamily="34" charset="0"/>
              </a:rPr>
              <a:t>Assigned 1:1 workstations</a:t>
            </a:r>
          </a:p>
        </p:txBody>
      </p:sp>
      <p:pic>
        <p:nvPicPr>
          <p:cNvPr id="128" name="Picture 148">
            <a:extLst>
              <a:ext uri="{FF2B5EF4-FFF2-40B4-BE49-F238E27FC236}">
                <a16:creationId xmlns:a16="http://schemas.microsoft.com/office/drawing/2014/main" id="{72D7B425-467D-E300-99B1-FF1BD469BAA8}"/>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118573" y="3801023"/>
            <a:ext cx="492134" cy="929265"/>
          </a:xfrm>
          <a:prstGeom prst="rect">
            <a:avLst/>
          </a:prstGeom>
        </p:spPr>
      </p:pic>
      <p:pic>
        <p:nvPicPr>
          <p:cNvPr id="129" name="Picture 149">
            <a:extLst>
              <a:ext uri="{FF2B5EF4-FFF2-40B4-BE49-F238E27FC236}">
                <a16:creationId xmlns:a16="http://schemas.microsoft.com/office/drawing/2014/main" id="{E625BF06-9D3F-0649-97EF-1BA8A59764D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628521" y="3900734"/>
            <a:ext cx="469801" cy="848938"/>
          </a:xfrm>
          <a:prstGeom prst="rect">
            <a:avLst/>
          </a:prstGeom>
        </p:spPr>
      </p:pic>
      <p:sp>
        <p:nvSpPr>
          <p:cNvPr id="121" name="Freeform: Shape 247" descr="Arrow between the column Now and the column about our future state">
            <a:extLst>
              <a:ext uri="{FF2B5EF4-FFF2-40B4-BE49-F238E27FC236}">
                <a16:creationId xmlns:a16="http://schemas.microsoft.com/office/drawing/2014/main" id="{66B4CDA5-6D84-9E6F-207A-6E00AF65A892}"/>
              </a:ext>
            </a:extLst>
          </p:cNvPr>
          <p:cNvSpPr/>
          <p:nvPr/>
        </p:nvSpPr>
        <p:spPr>
          <a:xfrm>
            <a:off x="3998520" y="1736713"/>
            <a:ext cx="3220151" cy="305726"/>
          </a:xfrm>
          <a:custGeom>
            <a:avLst/>
            <a:gdLst>
              <a:gd name="connsiteX0" fmla="*/ 0 w 3333136"/>
              <a:gd name="connsiteY0" fmla="*/ 196646 h 289799"/>
              <a:gd name="connsiteX1" fmla="*/ 167149 w 3333136"/>
              <a:gd name="connsiteY1" fmla="*/ 176981 h 289799"/>
              <a:gd name="connsiteX2" fmla="*/ 265471 w 3333136"/>
              <a:gd name="connsiteY2" fmla="*/ 167149 h 289799"/>
              <a:gd name="connsiteX3" fmla="*/ 314633 w 3333136"/>
              <a:gd name="connsiteY3" fmla="*/ 157317 h 289799"/>
              <a:gd name="connsiteX4" fmla="*/ 570271 w 3333136"/>
              <a:gd name="connsiteY4" fmla="*/ 117987 h 289799"/>
              <a:gd name="connsiteX5" fmla="*/ 717755 w 3333136"/>
              <a:gd name="connsiteY5" fmla="*/ 78658 h 289799"/>
              <a:gd name="connsiteX6" fmla="*/ 875071 w 3333136"/>
              <a:gd name="connsiteY6" fmla="*/ 39329 h 289799"/>
              <a:gd name="connsiteX7" fmla="*/ 953729 w 3333136"/>
              <a:gd name="connsiteY7" fmla="*/ 19665 h 289799"/>
              <a:gd name="connsiteX8" fmla="*/ 1081549 w 3333136"/>
              <a:gd name="connsiteY8" fmla="*/ 0 h 289799"/>
              <a:gd name="connsiteX9" fmla="*/ 1533833 w 3333136"/>
              <a:gd name="connsiteY9" fmla="*/ 9833 h 289799"/>
              <a:gd name="connsiteX10" fmla="*/ 1573162 w 3333136"/>
              <a:gd name="connsiteY10" fmla="*/ 19665 h 289799"/>
              <a:gd name="connsiteX11" fmla="*/ 1622323 w 3333136"/>
              <a:gd name="connsiteY11" fmla="*/ 29497 h 289799"/>
              <a:gd name="connsiteX12" fmla="*/ 1730478 w 3333136"/>
              <a:gd name="connsiteY12" fmla="*/ 58994 h 289799"/>
              <a:gd name="connsiteX13" fmla="*/ 1789471 w 3333136"/>
              <a:gd name="connsiteY13" fmla="*/ 68826 h 289799"/>
              <a:gd name="connsiteX14" fmla="*/ 1887794 w 3333136"/>
              <a:gd name="connsiteY14" fmla="*/ 98323 h 289799"/>
              <a:gd name="connsiteX15" fmla="*/ 1946787 w 3333136"/>
              <a:gd name="connsiteY15" fmla="*/ 117987 h 289799"/>
              <a:gd name="connsiteX16" fmla="*/ 2143433 w 3333136"/>
              <a:gd name="connsiteY16" fmla="*/ 157317 h 289799"/>
              <a:gd name="connsiteX17" fmla="*/ 2241755 w 3333136"/>
              <a:gd name="connsiteY17" fmla="*/ 176981 h 289799"/>
              <a:gd name="connsiteX18" fmla="*/ 2458065 w 3333136"/>
              <a:gd name="connsiteY18" fmla="*/ 216310 h 289799"/>
              <a:gd name="connsiteX19" fmla="*/ 2556387 w 3333136"/>
              <a:gd name="connsiteY19" fmla="*/ 226142 h 289799"/>
              <a:gd name="connsiteX20" fmla="*/ 2644878 w 3333136"/>
              <a:gd name="connsiteY20" fmla="*/ 235975 h 289799"/>
              <a:gd name="connsiteX21" fmla="*/ 2713704 w 3333136"/>
              <a:gd name="connsiteY21" fmla="*/ 255639 h 289799"/>
              <a:gd name="connsiteX22" fmla="*/ 3048000 w 3333136"/>
              <a:gd name="connsiteY22" fmla="*/ 275304 h 289799"/>
              <a:gd name="connsiteX23" fmla="*/ 3333136 w 3333136"/>
              <a:gd name="connsiteY23" fmla="*/ 285136 h 28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33136" h="289799">
                <a:moveTo>
                  <a:pt x="0" y="196646"/>
                </a:moveTo>
                <a:lnTo>
                  <a:pt x="167149" y="176981"/>
                </a:lnTo>
                <a:cubicBezTo>
                  <a:pt x="199885" y="173344"/>
                  <a:pt x="232822" y="171502"/>
                  <a:pt x="265471" y="167149"/>
                </a:cubicBezTo>
                <a:cubicBezTo>
                  <a:pt x="282036" y="164940"/>
                  <a:pt x="298089" y="159680"/>
                  <a:pt x="314633" y="157317"/>
                </a:cubicBezTo>
                <a:cubicBezTo>
                  <a:pt x="481511" y="133477"/>
                  <a:pt x="435056" y="148035"/>
                  <a:pt x="570271" y="117987"/>
                </a:cubicBezTo>
                <a:cubicBezTo>
                  <a:pt x="667973" y="96275"/>
                  <a:pt x="626566" y="102447"/>
                  <a:pt x="717755" y="78658"/>
                </a:cubicBezTo>
                <a:cubicBezTo>
                  <a:pt x="770057" y="65014"/>
                  <a:pt x="822632" y="52439"/>
                  <a:pt x="875071" y="39329"/>
                </a:cubicBezTo>
                <a:cubicBezTo>
                  <a:pt x="901290" y="32774"/>
                  <a:pt x="927070" y="24108"/>
                  <a:pt x="953729" y="19665"/>
                </a:cubicBezTo>
                <a:cubicBezTo>
                  <a:pt x="1035583" y="6023"/>
                  <a:pt x="992987" y="12653"/>
                  <a:pt x="1081549" y="0"/>
                </a:cubicBezTo>
                <a:lnTo>
                  <a:pt x="1533833" y="9833"/>
                </a:lnTo>
                <a:cubicBezTo>
                  <a:pt x="1547335" y="10373"/>
                  <a:pt x="1559971" y="16734"/>
                  <a:pt x="1573162" y="19665"/>
                </a:cubicBezTo>
                <a:cubicBezTo>
                  <a:pt x="1589476" y="23290"/>
                  <a:pt x="1606110" y="25444"/>
                  <a:pt x="1622323" y="29497"/>
                </a:cubicBezTo>
                <a:cubicBezTo>
                  <a:pt x="1658576" y="38560"/>
                  <a:pt x="1694103" y="50435"/>
                  <a:pt x="1730478" y="58994"/>
                </a:cubicBezTo>
                <a:cubicBezTo>
                  <a:pt x="1749884" y="63560"/>
                  <a:pt x="1770131" y="63991"/>
                  <a:pt x="1789471" y="68826"/>
                </a:cubicBezTo>
                <a:cubicBezTo>
                  <a:pt x="1822667" y="77125"/>
                  <a:pt x="1855134" y="88117"/>
                  <a:pt x="1887794" y="98323"/>
                </a:cubicBezTo>
                <a:cubicBezTo>
                  <a:pt x="1907578" y="104506"/>
                  <a:pt x="1926590" y="113326"/>
                  <a:pt x="1946787" y="117987"/>
                </a:cubicBezTo>
                <a:cubicBezTo>
                  <a:pt x="2011922" y="133018"/>
                  <a:pt x="2077884" y="144207"/>
                  <a:pt x="2143433" y="157317"/>
                </a:cubicBezTo>
                <a:lnTo>
                  <a:pt x="2241755" y="176981"/>
                </a:lnTo>
                <a:cubicBezTo>
                  <a:pt x="2318931" y="192416"/>
                  <a:pt x="2378976" y="205525"/>
                  <a:pt x="2458065" y="216310"/>
                </a:cubicBezTo>
                <a:cubicBezTo>
                  <a:pt x="2490700" y="220760"/>
                  <a:pt x="2523631" y="222694"/>
                  <a:pt x="2556387" y="226142"/>
                </a:cubicBezTo>
                <a:lnTo>
                  <a:pt x="2644878" y="235975"/>
                </a:lnTo>
                <a:cubicBezTo>
                  <a:pt x="2667820" y="242530"/>
                  <a:pt x="2690374" y="250640"/>
                  <a:pt x="2713704" y="255639"/>
                </a:cubicBezTo>
                <a:cubicBezTo>
                  <a:pt x="2807128" y="275658"/>
                  <a:pt x="3000332" y="273538"/>
                  <a:pt x="3048000" y="275304"/>
                </a:cubicBezTo>
                <a:cubicBezTo>
                  <a:pt x="3174293" y="300561"/>
                  <a:pt x="3080450" y="285136"/>
                  <a:pt x="3333136" y="285136"/>
                </a:cubicBezTo>
              </a:path>
            </a:pathLst>
          </a:custGeom>
          <a:noFill/>
          <a:ln>
            <a:prstDash val="lgDash"/>
            <a:headEnd type="none" w="med" len="med"/>
            <a:tailEnd type="triangle" w="lg" len="med"/>
            <a:extLst>
              <a:ext uri="{C807C97D-BFC1-408E-A445-0C87EB9F89A2}">
                <ask:lineSketchStyleProps xmlns:ask="http://schemas.microsoft.com/office/drawing/2018/sketchyshapes" sd="1219033472">
                  <a:custGeom>
                    <a:avLst/>
                    <a:gdLst>
                      <a:gd name="connsiteX0" fmla="*/ 0 w 3220151"/>
                      <a:gd name="connsiteY0" fmla="*/ 207453 h 305726"/>
                      <a:gd name="connsiteX1" fmla="*/ 161483 w 3220151"/>
                      <a:gd name="connsiteY1" fmla="*/ 186707 h 305726"/>
                      <a:gd name="connsiteX2" fmla="*/ 256472 w 3220151"/>
                      <a:gd name="connsiteY2" fmla="*/ 176335 h 305726"/>
                      <a:gd name="connsiteX3" fmla="*/ 303967 w 3220151"/>
                      <a:gd name="connsiteY3" fmla="*/ 165962 h 305726"/>
                      <a:gd name="connsiteX4" fmla="*/ 550940 w 3220151"/>
                      <a:gd name="connsiteY4" fmla="*/ 124471 h 305726"/>
                      <a:gd name="connsiteX5" fmla="*/ 693424 w 3220151"/>
                      <a:gd name="connsiteY5" fmla="*/ 82980 h 305726"/>
                      <a:gd name="connsiteX6" fmla="*/ 845408 w 3220151"/>
                      <a:gd name="connsiteY6" fmla="*/ 41490 h 305726"/>
                      <a:gd name="connsiteX7" fmla="*/ 921399 w 3220151"/>
                      <a:gd name="connsiteY7" fmla="*/ 20745 h 305726"/>
                      <a:gd name="connsiteX8" fmla="*/ 1044887 w 3220151"/>
                      <a:gd name="connsiteY8" fmla="*/ 0 h 305726"/>
                      <a:gd name="connsiteX9" fmla="*/ 1481839 w 3220151"/>
                      <a:gd name="connsiteY9" fmla="*/ 10373 h 305726"/>
                      <a:gd name="connsiteX10" fmla="*/ 1519835 w 3220151"/>
                      <a:gd name="connsiteY10" fmla="*/ 20745 h 305726"/>
                      <a:gd name="connsiteX11" fmla="*/ 1567330 w 3220151"/>
                      <a:gd name="connsiteY11" fmla="*/ 31118 h 305726"/>
                      <a:gd name="connsiteX12" fmla="*/ 1671819 w 3220151"/>
                      <a:gd name="connsiteY12" fmla="*/ 62236 h 305726"/>
                      <a:gd name="connsiteX13" fmla="*/ 1728812 w 3220151"/>
                      <a:gd name="connsiteY13" fmla="*/ 72608 h 305726"/>
                      <a:gd name="connsiteX14" fmla="*/ 1823802 w 3220151"/>
                      <a:gd name="connsiteY14" fmla="*/ 103726 h 305726"/>
                      <a:gd name="connsiteX15" fmla="*/ 1880795 w 3220151"/>
                      <a:gd name="connsiteY15" fmla="*/ 124471 h 305726"/>
                      <a:gd name="connsiteX16" fmla="*/ 2070775 w 3220151"/>
                      <a:gd name="connsiteY16" fmla="*/ 165962 h 305726"/>
                      <a:gd name="connsiteX17" fmla="*/ 2165765 w 3220151"/>
                      <a:gd name="connsiteY17" fmla="*/ 186707 h 305726"/>
                      <a:gd name="connsiteX18" fmla="*/ 2374742 w 3220151"/>
                      <a:gd name="connsiteY18" fmla="*/ 228198 h 305726"/>
                      <a:gd name="connsiteX19" fmla="*/ 2469731 w 3220151"/>
                      <a:gd name="connsiteY19" fmla="*/ 238570 h 305726"/>
                      <a:gd name="connsiteX20" fmla="*/ 2555223 w 3220151"/>
                      <a:gd name="connsiteY20" fmla="*/ 248943 h 305726"/>
                      <a:gd name="connsiteX21" fmla="*/ 2621716 w 3220151"/>
                      <a:gd name="connsiteY21" fmla="*/ 269688 h 305726"/>
                      <a:gd name="connsiteX22" fmla="*/ 2944680 w 3220151"/>
                      <a:gd name="connsiteY22" fmla="*/ 290434 h 305726"/>
                      <a:gd name="connsiteX23" fmla="*/ 3220151 w 3220151"/>
                      <a:gd name="connsiteY23" fmla="*/ 300806 h 3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20151" h="305726" extrusionOk="0">
                        <a:moveTo>
                          <a:pt x="0" y="207453"/>
                        </a:moveTo>
                        <a:cubicBezTo>
                          <a:pt x="60265" y="207079"/>
                          <a:pt x="125413" y="193358"/>
                          <a:pt x="161483" y="186707"/>
                        </a:cubicBezTo>
                        <a:cubicBezTo>
                          <a:pt x="195327" y="183309"/>
                          <a:pt x="223682" y="175579"/>
                          <a:pt x="256472" y="176335"/>
                        </a:cubicBezTo>
                        <a:cubicBezTo>
                          <a:pt x="271374" y="173167"/>
                          <a:pt x="287236" y="169990"/>
                          <a:pt x="303967" y="165962"/>
                        </a:cubicBezTo>
                        <a:cubicBezTo>
                          <a:pt x="465270" y="147235"/>
                          <a:pt x="417556" y="147306"/>
                          <a:pt x="550940" y="124471"/>
                        </a:cubicBezTo>
                        <a:cubicBezTo>
                          <a:pt x="647956" y="91848"/>
                          <a:pt x="604506" y="107540"/>
                          <a:pt x="693424" y="82980"/>
                        </a:cubicBezTo>
                        <a:cubicBezTo>
                          <a:pt x="750064" y="58642"/>
                          <a:pt x="792687" y="57129"/>
                          <a:pt x="845408" y="41490"/>
                        </a:cubicBezTo>
                        <a:cubicBezTo>
                          <a:pt x="874311" y="35212"/>
                          <a:pt x="894446" y="27414"/>
                          <a:pt x="921399" y="20745"/>
                        </a:cubicBezTo>
                        <a:cubicBezTo>
                          <a:pt x="995906" y="1050"/>
                          <a:pt x="960789" y="23463"/>
                          <a:pt x="1044887" y="0"/>
                        </a:cubicBezTo>
                        <a:cubicBezTo>
                          <a:pt x="1249094" y="14943"/>
                          <a:pt x="1314532" y="13445"/>
                          <a:pt x="1481839" y="10373"/>
                        </a:cubicBezTo>
                        <a:cubicBezTo>
                          <a:pt x="1495163" y="13838"/>
                          <a:pt x="1507320" y="18005"/>
                          <a:pt x="1519835" y="20745"/>
                        </a:cubicBezTo>
                        <a:cubicBezTo>
                          <a:pt x="1536168" y="25269"/>
                          <a:pt x="1552869" y="25789"/>
                          <a:pt x="1567330" y="31118"/>
                        </a:cubicBezTo>
                        <a:cubicBezTo>
                          <a:pt x="1602918" y="38027"/>
                          <a:pt x="1628940" y="54476"/>
                          <a:pt x="1671819" y="62236"/>
                        </a:cubicBezTo>
                        <a:cubicBezTo>
                          <a:pt x="1688918" y="65915"/>
                          <a:pt x="1707089" y="67291"/>
                          <a:pt x="1728812" y="72608"/>
                        </a:cubicBezTo>
                        <a:cubicBezTo>
                          <a:pt x="1757614" y="74700"/>
                          <a:pt x="1792689" y="87003"/>
                          <a:pt x="1823802" y="103726"/>
                        </a:cubicBezTo>
                        <a:cubicBezTo>
                          <a:pt x="1841620" y="111005"/>
                          <a:pt x="1860315" y="121284"/>
                          <a:pt x="1880795" y="124471"/>
                        </a:cubicBezTo>
                        <a:cubicBezTo>
                          <a:pt x="1944895" y="141200"/>
                          <a:pt x="2007059" y="161375"/>
                          <a:pt x="2070775" y="165962"/>
                        </a:cubicBezTo>
                        <a:cubicBezTo>
                          <a:pt x="2106836" y="171293"/>
                          <a:pt x="2140861" y="179382"/>
                          <a:pt x="2165765" y="186707"/>
                        </a:cubicBezTo>
                        <a:cubicBezTo>
                          <a:pt x="2241838" y="217355"/>
                          <a:pt x="2302249" y="215503"/>
                          <a:pt x="2374742" y="228198"/>
                        </a:cubicBezTo>
                        <a:cubicBezTo>
                          <a:pt x="2406058" y="227156"/>
                          <a:pt x="2445035" y="236381"/>
                          <a:pt x="2469731" y="238570"/>
                        </a:cubicBezTo>
                        <a:cubicBezTo>
                          <a:pt x="2505153" y="244727"/>
                          <a:pt x="2526792" y="242247"/>
                          <a:pt x="2555223" y="248943"/>
                        </a:cubicBezTo>
                        <a:cubicBezTo>
                          <a:pt x="2575127" y="260395"/>
                          <a:pt x="2597877" y="262690"/>
                          <a:pt x="2621716" y="269688"/>
                        </a:cubicBezTo>
                        <a:cubicBezTo>
                          <a:pt x="2713445" y="291268"/>
                          <a:pt x="2898385" y="283528"/>
                          <a:pt x="2944680" y="290434"/>
                        </a:cubicBezTo>
                        <a:cubicBezTo>
                          <a:pt x="3080171" y="325570"/>
                          <a:pt x="2962756" y="303719"/>
                          <a:pt x="3220151" y="300806"/>
                        </a:cubicBezTo>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a:p>
        </p:txBody>
      </p:sp>
      <p:grpSp>
        <p:nvGrpSpPr>
          <p:cNvPr id="120" name="Gruppieren 269">
            <a:extLst>
              <a:ext uri="{FF2B5EF4-FFF2-40B4-BE49-F238E27FC236}">
                <a16:creationId xmlns:a16="http://schemas.microsoft.com/office/drawing/2014/main" id="{A738861C-A5D5-34D0-85CF-51FD1F064393}"/>
              </a:ext>
              <a:ext uri="{C183D7F6-B498-43B3-948B-1728B52AA6E4}">
                <adec:decorative xmlns:adec="http://schemas.microsoft.com/office/drawing/2017/decorative" val="1"/>
              </a:ext>
            </a:extLst>
          </p:cNvPr>
          <p:cNvGrpSpPr>
            <a:grpSpLocks noChangeAspect="1"/>
          </p:cNvGrpSpPr>
          <p:nvPr/>
        </p:nvGrpSpPr>
        <p:grpSpPr bwMode="gray">
          <a:xfrm>
            <a:off x="7393384" y="1690761"/>
            <a:ext cx="603603" cy="480230"/>
            <a:chOff x="7230825" y="5801578"/>
            <a:chExt cx="541734" cy="431006"/>
          </a:xfrm>
          <a:solidFill>
            <a:srgbClr val="76B49F"/>
          </a:solidFill>
        </p:grpSpPr>
        <p:sp>
          <p:nvSpPr>
            <p:cNvPr id="139" name="Freeform 1546">
              <a:extLst>
                <a:ext uri="{FF2B5EF4-FFF2-40B4-BE49-F238E27FC236}">
                  <a16:creationId xmlns:a16="http://schemas.microsoft.com/office/drawing/2014/main" id="{CF62872A-6A4F-E4F7-4AD7-DBC7CF7BE7BB}"/>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sp>
          <p:nvSpPr>
            <p:cNvPr id="140" name="Freeform 1547">
              <a:extLst>
                <a:ext uri="{FF2B5EF4-FFF2-40B4-BE49-F238E27FC236}">
                  <a16:creationId xmlns:a16="http://schemas.microsoft.com/office/drawing/2014/main" id="{87C4F373-56FB-50EB-6CCC-792F927472E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sp>
          <p:nvSpPr>
            <p:cNvPr id="141" name="Freeform 1548">
              <a:extLst>
                <a:ext uri="{FF2B5EF4-FFF2-40B4-BE49-F238E27FC236}">
                  <a16:creationId xmlns:a16="http://schemas.microsoft.com/office/drawing/2014/main" id="{17FBC5D0-2E45-786B-E37F-05FC411779FD}"/>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sp>
          <p:nvSpPr>
            <p:cNvPr id="142" name="Freeform 1549">
              <a:extLst>
                <a:ext uri="{FF2B5EF4-FFF2-40B4-BE49-F238E27FC236}">
                  <a16:creationId xmlns:a16="http://schemas.microsoft.com/office/drawing/2014/main" id="{04BB34E7-9632-DF5A-FACE-1B455C81662D}"/>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sp>
          <p:nvSpPr>
            <p:cNvPr id="143" name="Freeform 1550">
              <a:extLst>
                <a:ext uri="{FF2B5EF4-FFF2-40B4-BE49-F238E27FC236}">
                  <a16:creationId xmlns:a16="http://schemas.microsoft.com/office/drawing/2014/main" id="{99299495-1A75-D054-0CD4-F2DDFCDAD165}"/>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grpSp>
      <p:sp>
        <p:nvSpPr>
          <p:cNvPr id="118" name="Rectangle 117">
            <a:extLst>
              <a:ext uri="{FF2B5EF4-FFF2-40B4-BE49-F238E27FC236}">
                <a16:creationId xmlns:a16="http://schemas.microsoft.com/office/drawing/2014/main" id="{03606830-0145-BF89-5080-5EDD4851A9CA}"/>
              </a:ext>
            </a:extLst>
          </p:cNvPr>
          <p:cNvSpPr/>
          <p:nvPr/>
        </p:nvSpPr>
        <p:spPr>
          <a:xfrm>
            <a:off x="8171700" y="1762163"/>
            <a:ext cx="1491185" cy="404612"/>
          </a:xfrm>
          <a:prstGeom prst="rect">
            <a:avLst/>
          </a:prstGeom>
          <a:solidFill>
            <a:srgbClr val="76B49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noProof="0" dirty="0">
                <a:ln>
                  <a:noFill/>
                </a:ln>
                <a:solidFill>
                  <a:schemeClr val="tx1"/>
                </a:solidFill>
                <a:effectLst/>
                <a:uLnTx/>
                <a:uFillTx/>
                <a:latin typeface="Avenir Next LT Pro" panose="020B0504020202020204" pitchFamily="34" charset="0"/>
              </a:rPr>
              <a:t>20XX</a:t>
            </a:r>
            <a:endParaRPr kumimoji="0" lang="en-CA" sz="1800" b="1" i="0" u="none" strike="noStrike" kern="1200" cap="none" spc="0" normalizeH="0" baseline="0" noProof="0" dirty="0">
              <a:ln>
                <a:noFill/>
              </a:ln>
              <a:solidFill>
                <a:schemeClr val="tx1"/>
              </a:solidFill>
              <a:effectLst/>
              <a:uLnTx/>
              <a:uFillTx/>
              <a:latin typeface="Avenir Next LT Pro" panose="020B0504020202020204" pitchFamily="34" charset="0"/>
            </a:endParaRPr>
          </a:p>
        </p:txBody>
      </p:sp>
      <p:sp>
        <p:nvSpPr>
          <p:cNvPr id="125" name="Rectangle: Rounded Corners 251">
            <a:extLst>
              <a:ext uri="{FF2B5EF4-FFF2-40B4-BE49-F238E27FC236}">
                <a16:creationId xmlns:a16="http://schemas.microsoft.com/office/drawing/2014/main" id="{C3A1B379-6571-1C49-58FA-89CBE354E722}"/>
              </a:ext>
            </a:extLst>
          </p:cNvPr>
          <p:cNvSpPr/>
          <p:nvPr/>
        </p:nvSpPr>
        <p:spPr>
          <a:xfrm>
            <a:off x="6794648" y="2445695"/>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New address</a:t>
            </a:r>
            <a:endParaRPr lang="fr-CA" sz="1600" dirty="0">
              <a:solidFill>
                <a:srgbClr val="FF0000"/>
              </a:solidFill>
              <a:highlight>
                <a:srgbClr val="FFFF00"/>
              </a:highlight>
              <a:latin typeface="Avenir Next LT Pro" panose="020B0504020202020204" pitchFamily="34" charset="0"/>
            </a:endParaRPr>
          </a:p>
        </p:txBody>
      </p:sp>
      <p:sp>
        <p:nvSpPr>
          <p:cNvPr id="126" name="Rectangle: Rounded Corners 252">
            <a:extLst>
              <a:ext uri="{FF2B5EF4-FFF2-40B4-BE49-F238E27FC236}">
                <a16:creationId xmlns:a16="http://schemas.microsoft.com/office/drawing/2014/main" id="{1D166D08-6E2D-80DD-6808-092F6378AC03}"/>
              </a:ext>
            </a:extLst>
          </p:cNvPr>
          <p:cNvSpPr/>
          <p:nvPr/>
        </p:nvSpPr>
        <p:spPr>
          <a:xfrm>
            <a:off x="6809832" y="2991151"/>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dirty="0">
                <a:solidFill>
                  <a:schemeClr val="tx1"/>
                </a:solidFill>
                <a:latin typeface="Avenir Next LT Pro" panose="020B0504020202020204" pitchFamily="34" charset="0"/>
              </a:rPr>
              <a:t>New </a:t>
            </a:r>
            <a:r>
              <a:rPr lang="fr-CA" sz="1600" dirty="0" err="1">
                <a:solidFill>
                  <a:schemeClr val="tx1"/>
                </a:solidFill>
                <a:latin typeface="Avenir Next LT Pro" panose="020B0504020202020204" pitchFamily="34" charset="0"/>
              </a:rPr>
              <a:t>number</a:t>
            </a:r>
            <a:r>
              <a:rPr lang="fr-CA" sz="1600" dirty="0">
                <a:solidFill>
                  <a:schemeClr val="tx1"/>
                </a:solidFill>
                <a:latin typeface="Avenir Next LT Pro" panose="020B0504020202020204" pitchFamily="34" charset="0"/>
              </a:rPr>
              <a:t> of </a:t>
            </a:r>
            <a:r>
              <a:rPr lang="fr-CA" sz="1600" dirty="0" err="1">
                <a:solidFill>
                  <a:schemeClr val="tx1"/>
                </a:solidFill>
                <a:latin typeface="Avenir Next LT Pro" panose="020B0504020202020204" pitchFamily="34" charset="0"/>
              </a:rPr>
              <a:t>floors</a:t>
            </a:r>
            <a:endParaRPr lang="fr-CA" sz="1600" dirty="0">
              <a:solidFill>
                <a:schemeClr val="tx1"/>
              </a:solidFill>
              <a:latin typeface="Avenir Next LT Pro" panose="020B0504020202020204" pitchFamily="34" charset="0"/>
            </a:endParaRPr>
          </a:p>
        </p:txBody>
      </p:sp>
      <p:sp>
        <p:nvSpPr>
          <p:cNvPr id="132" name="TextBox 156">
            <a:extLst>
              <a:ext uri="{FF2B5EF4-FFF2-40B4-BE49-F238E27FC236}">
                <a16:creationId xmlns:a16="http://schemas.microsoft.com/office/drawing/2014/main" id="{972E62F7-856E-E74B-98EE-589692A22E88}"/>
              </a:ext>
            </a:extLst>
          </p:cNvPr>
          <p:cNvSpPr txBox="1"/>
          <p:nvPr/>
        </p:nvSpPr>
        <p:spPr>
          <a:xfrm>
            <a:off x="6927445" y="3642261"/>
            <a:ext cx="3507375"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600" b="1" dirty="0">
                <a:latin typeface="Avenir Next LT Pro" panose="020B0504020202020204" pitchFamily="34" charset="0"/>
              </a:rPr>
              <a:t>Unassigned </a:t>
            </a:r>
            <a:r>
              <a:rPr lang="en-CA" sz="1600" b="1" dirty="0" err="1">
                <a:latin typeface="Avenir Next LT Pro" panose="020B0504020202020204" pitchFamily="34" charset="0"/>
              </a:rPr>
              <a:t>workpoints</a:t>
            </a:r>
            <a:endParaRPr lang="en-CA" sz="1600" b="1" i="1" dirty="0">
              <a:latin typeface="Avenir Next LT Pro" panose="020B0504020202020204" pitchFamily="34" charset="0"/>
            </a:endParaRPr>
          </a:p>
        </p:txBody>
      </p:sp>
      <p:sp>
        <p:nvSpPr>
          <p:cNvPr id="131" name="Rectangle: Rounded Corners 153" descr="Unassigned workpoints : a person working at a sit-stand workstation, tow people working at in a meeting room with a monitor displaying a presentation, and two person at a chat point.">
            <a:extLst>
              <a:ext uri="{FF2B5EF4-FFF2-40B4-BE49-F238E27FC236}">
                <a16:creationId xmlns:a16="http://schemas.microsoft.com/office/drawing/2014/main" id="{F71F5B42-71A6-85F9-508A-7ED7FF32727F}"/>
              </a:ext>
            </a:extLst>
          </p:cNvPr>
          <p:cNvSpPr/>
          <p:nvPr/>
        </p:nvSpPr>
        <p:spPr>
          <a:xfrm>
            <a:off x="6826601" y="3578888"/>
            <a:ext cx="4011117" cy="1615853"/>
          </a:xfrm>
          <a:prstGeom prst="roundRect">
            <a:avLst>
              <a:gd name="adj" fmla="val 6692"/>
            </a:avLst>
          </a:prstGeom>
          <a:noFill/>
          <a:ln w="19050">
            <a:solidFill>
              <a:srgbClr val="76B49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a:p>
        </p:txBody>
      </p:sp>
      <p:pic>
        <p:nvPicPr>
          <p:cNvPr id="133" name="Picture 191">
            <a:extLst>
              <a:ext uri="{FF2B5EF4-FFF2-40B4-BE49-F238E27FC236}">
                <a16:creationId xmlns:a16="http://schemas.microsoft.com/office/drawing/2014/main" id="{2C4D393D-1B54-98F0-19F7-D0F7CB3EDE01}"/>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9142790" y="4022244"/>
            <a:ext cx="1174806" cy="880081"/>
          </a:xfrm>
          <a:prstGeom prst="rect">
            <a:avLst/>
          </a:prstGeom>
        </p:spPr>
      </p:pic>
      <p:pic>
        <p:nvPicPr>
          <p:cNvPr id="134" name="Picture 192">
            <a:extLst>
              <a:ext uri="{FF2B5EF4-FFF2-40B4-BE49-F238E27FC236}">
                <a16:creationId xmlns:a16="http://schemas.microsoft.com/office/drawing/2014/main" id="{5BE65366-221B-6F0C-7BDE-1611F267E4E8}"/>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934383" y="4064188"/>
            <a:ext cx="781969" cy="848938"/>
          </a:xfrm>
          <a:prstGeom prst="rect">
            <a:avLst/>
          </a:prstGeom>
        </p:spPr>
      </p:pic>
      <p:grpSp>
        <p:nvGrpSpPr>
          <p:cNvPr id="135" name="Group 194">
            <a:extLst>
              <a:ext uri="{FF2B5EF4-FFF2-40B4-BE49-F238E27FC236}">
                <a16:creationId xmlns:a16="http://schemas.microsoft.com/office/drawing/2014/main" id="{DFC4213B-24A7-04FD-6312-18CA7ABB7C6D}"/>
              </a:ext>
              <a:ext uri="{C183D7F6-B498-43B3-948B-1728B52AA6E4}">
                <adec:decorative xmlns:adec="http://schemas.microsoft.com/office/drawing/2017/decorative" val="1"/>
              </a:ext>
            </a:extLst>
          </p:cNvPr>
          <p:cNvGrpSpPr/>
          <p:nvPr/>
        </p:nvGrpSpPr>
        <p:grpSpPr>
          <a:xfrm>
            <a:off x="7815558" y="4087904"/>
            <a:ext cx="1327232" cy="816533"/>
            <a:chOff x="6312030" y="4120319"/>
            <a:chExt cx="3331283" cy="2089752"/>
          </a:xfrm>
        </p:grpSpPr>
        <p:pic>
          <p:nvPicPr>
            <p:cNvPr id="136" name="Picture 157">
              <a:extLst>
                <a:ext uri="{FF2B5EF4-FFF2-40B4-BE49-F238E27FC236}">
                  <a16:creationId xmlns:a16="http://schemas.microsoft.com/office/drawing/2014/main" id="{8A40CC07-30C0-A29C-CFB2-A0D268F96E64}"/>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312030" y="4120319"/>
              <a:ext cx="3331283" cy="2089752"/>
            </a:xfrm>
            <a:prstGeom prst="rect">
              <a:avLst/>
            </a:prstGeom>
          </p:spPr>
        </p:pic>
        <p:pic>
          <p:nvPicPr>
            <p:cNvPr id="137" name="Picture 158">
              <a:extLst>
                <a:ext uri="{FF2B5EF4-FFF2-40B4-BE49-F238E27FC236}">
                  <a16:creationId xmlns:a16="http://schemas.microsoft.com/office/drawing/2014/main" id="{E2CAB800-4796-CB87-2473-059A42A0D5AB}"/>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364802" y="4770520"/>
              <a:ext cx="796645" cy="1439551"/>
            </a:xfrm>
            <a:prstGeom prst="rect">
              <a:avLst/>
            </a:prstGeom>
          </p:spPr>
        </p:pic>
        <p:pic>
          <p:nvPicPr>
            <p:cNvPr id="138" name="Picture 193">
              <a:extLst>
                <a:ext uri="{FF2B5EF4-FFF2-40B4-BE49-F238E27FC236}">
                  <a16:creationId xmlns:a16="http://schemas.microsoft.com/office/drawing/2014/main" id="{2C59B320-7562-AC56-2510-16F73B114013}"/>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176212" y="5087005"/>
              <a:ext cx="377179" cy="309624"/>
            </a:xfrm>
            <a:prstGeom prst="rect">
              <a:avLst/>
            </a:prstGeom>
          </p:spPr>
        </p:pic>
      </p:grpSp>
      <p:sp>
        <p:nvSpPr>
          <p:cNvPr id="3" name="Rectangle: Rounded Corners 252">
            <a:extLst>
              <a:ext uri="{FF2B5EF4-FFF2-40B4-BE49-F238E27FC236}">
                <a16:creationId xmlns:a16="http://schemas.microsoft.com/office/drawing/2014/main" id="{B4C4C6A1-95F9-4595-D5F9-6FBFE059FF64}"/>
              </a:ext>
            </a:extLst>
          </p:cNvPr>
          <p:cNvSpPr/>
          <p:nvPr/>
        </p:nvSpPr>
        <p:spPr>
          <a:xfrm>
            <a:off x="6794648" y="5329259"/>
            <a:ext cx="4043070" cy="1267225"/>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New </a:t>
            </a:r>
            <a:r>
              <a:rPr lang="fr-CA" sz="1600" b="1" dirty="0" err="1">
                <a:solidFill>
                  <a:schemeClr val="tx1"/>
                </a:solidFill>
                <a:latin typeface="Avenir Next LT Pro" panose="020B0504020202020204" pitchFamily="34" charset="0"/>
              </a:rPr>
              <a:t>workplace</a:t>
            </a:r>
            <a:r>
              <a:rPr lang="fr-CA" sz="1600" b="1" dirty="0">
                <a:solidFill>
                  <a:schemeClr val="tx1"/>
                </a:solidFill>
                <a:latin typeface="Avenir Next LT Pro" panose="020B0504020202020204" pitchFamily="34" charset="0"/>
              </a:rPr>
              <a:t> </a:t>
            </a:r>
            <a:r>
              <a:rPr lang="fr-CA" sz="1600" b="1" dirty="0" err="1">
                <a:solidFill>
                  <a:schemeClr val="tx1"/>
                </a:solidFill>
                <a:latin typeface="Avenir Next LT Pro" panose="020B0504020202020204" pitchFamily="34" charset="0"/>
              </a:rPr>
              <a:t>utilization</a:t>
            </a:r>
            <a:r>
              <a:rPr lang="fr-CA" sz="1600" b="1" dirty="0">
                <a:solidFill>
                  <a:schemeClr val="tx1"/>
                </a:solidFill>
                <a:latin typeface="Avenir Next LT Pro" panose="020B0504020202020204" pitchFamily="34" charset="0"/>
              </a:rPr>
              <a:t> </a:t>
            </a:r>
            <a:r>
              <a:rPr lang="fr-CA" sz="1600" b="1" dirty="0" err="1">
                <a:solidFill>
                  <a:schemeClr val="tx1"/>
                </a:solidFill>
                <a:latin typeface="Avenir Next LT Pro" panose="020B0504020202020204" pitchFamily="34" charset="0"/>
              </a:rPr>
              <a:t>strategies</a:t>
            </a:r>
            <a:endParaRPr lang="fr-CA" sz="1600" b="1" dirty="0">
              <a:solidFill>
                <a:schemeClr val="tx1"/>
              </a:solidFill>
              <a:latin typeface="Avenir Next LT Pro" panose="020B0504020202020204" pitchFamily="34" charset="0"/>
            </a:endParaRP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Quiet zones</a:t>
            </a:r>
          </a:p>
          <a:p>
            <a:pPr marL="285750" indent="-285750">
              <a:buFont typeface="Courier New" panose="02070309020205020404" pitchFamily="49" charset="0"/>
              <a:buChar char="o"/>
            </a:pPr>
            <a:r>
              <a:rPr lang="fr-CA" sz="1600" dirty="0" err="1">
                <a:solidFill>
                  <a:schemeClr val="tx1"/>
                </a:solidFill>
                <a:latin typeface="Avenir Next LT Pro" panose="020B0504020202020204" pitchFamily="34" charset="0"/>
              </a:rPr>
              <a:t>Neighbourhoods</a:t>
            </a:r>
            <a:endParaRPr lang="fr-CA" sz="1600" dirty="0">
              <a:solidFill>
                <a:schemeClr val="tx1"/>
              </a:solidFill>
              <a:latin typeface="Avenir Next LT Pro" panose="020B0504020202020204" pitchFamily="34" charset="0"/>
            </a:endParaRPr>
          </a:p>
          <a:p>
            <a:pPr marL="285750" indent="-285750">
              <a:buFont typeface="Courier New" panose="02070309020205020404" pitchFamily="49" charset="0"/>
              <a:buChar char="o"/>
            </a:pPr>
            <a:r>
              <a:rPr lang="fr-CA" sz="1600" dirty="0" err="1">
                <a:solidFill>
                  <a:schemeClr val="tx1"/>
                </a:solidFill>
                <a:latin typeface="Avenir Next LT Pro" panose="020B0504020202020204" pitchFamily="34" charset="0"/>
              </a:rPr>
              <a:t>Booking</a:t>
            </a:r>
            <a:r>
              <a:rPr lang="fr-CA" sz="1600" dirty="0">
                <a:solidFill>
                  <a:schemeClr val="tx1"/>
                </a:solidFill>
                <a:latin typeface="Avenir Next LT Pro" panose="020B0504020202020204" pitchFamily="34" charset="0"/>
              </a:rPr>
              <a:t> system</a:t>
            </a:r>
          </a:p>
          <a:p>
            <a:pPr marL="285750" indent="-285750">
              <a:buFont typeface="Courier New" panose="02070309020205020404" pitchFamily="49" charset="0"/>
              <a:buChar char="o"/>
            </a:pPr>
            <a:r>
              <a:rPr lang="fr-CA" sz="1600" dirty="0" err="1">
                <a:solidFill>
                  <a:schemeClr val="tx1"/>
                </a:solidFill>
                <a:latin typeface="Avenir Next LT Pro" panose="020B0504020202020204" pitchFamily="34" charset="0"/>
              </a:rPr>
              <a:t>Personnal</a:t>
            </a:r>
            <a:r>
              <a:rPr lang="fr-CA" sz="1600" dirty="0">
                <a:solidFill>
                  <a:schemeClr val="tx1"/>
                </a:solidFill>
                <a:latin typeface="Avenir Next LT Pro" panose="020B0504020202020204" pitchFamily="34" charset="0"/>
              </a:rPr>
              <a:t> </a:t>
            </a:r>
            <a:r>
              <a:rPr lang="fr-CA" sz="1600" dirty="0" err="1">
                <a:solidFill>
                  <a:schemeClr val="tx1"/>
                </a:solidFill>
                <a:latin typeface="Avenir Next LT Pro" panose="020B0504020202020204" pitchFamily="34" charset="0"/>
              </a:rPr>
              <a:t>storage</a:t>
            </a:r>
            <a:endParaRPr lang="fr-CA" sz="1600" dirty="0">
              <a:solidFill>
                <a:schemeClr val="tx1"/>
              </a:solidFill>
              <a:latin typeface="Avenir Next LT Pro" panose="020B0504020202020204" pitchFamily="34" charset="0"/>
            </a:endParaRPr>
          </a:p>
        </p:txBody>
      </p:sp>
    </p:spTree>
    <p:extLst>
      <p:ext uri="{BB962C8B-B14F-4D97-AF65-F5344CB8AC3E}">
        <p14:creationId xmlns:p14="http://schemas.microsoft.com/office/powerpoint/2010/main" val="24114310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5CFF1F66-C9F8-5499-40CC-51C8B8764C38}"/>
              </a:ext>
            </a:extLst>
          </p:cNvPr>
          <p:cNvSpPr>
            <a:spLocks noGrp="1"/>
          </p:cNvSpPr>
          <p:nvPr>
            <p:ph type="title"/>
          </p:nvPr>
        </p:nvSpPr>
        <p:spPr>
          <a:xfrm>
            <a:off x="508760" y="557949"/>
            <a:ext cx="11006344" cy="835027"/>
          </a:xfrm>
        </p:spPr>
        <p:txBody>
          <a:bodyPr/>
          <a:lstStyle/>
          <a:p>
            <a:r>
              <a:rPr lang="fr-CA" dirty="0"/>
              <a:t>Timeline</a:t>
            </a:r>
            <a:endParaRPr lang="en-CA" dirty="0"/>
          </a:p>
        </p:txBody>
      </p:sp>
      <p:sp>
        <p:nvSpPr>
          <p:cNvPr id="47" name="ZoneTexte 46">
            <a:extLst>
              <a:ext uri="{FF2B5EF4-FFF2-40B4-BE49-F238E27FC236}">
                <a16:creationId xmlns:a16="http://schemas.microsoft.com/office/drawing/2014/main" id="{6F061153-9151-0D2F-6C2F-16E75EEC8F0B}"/>
              </a:ext>
            </a:extLst>
          </p:cNvPr>
          <p:cNvSpPr txBox="1"/>
          <p:nvPr/>
        </p:nvSpPr>
        <p:spPr>
          <a:xfrm>
            <a:off x="1512935" y="5455468"/>
            <a:ext cx="1689032" cy="369332"/>
          </a:xfrm>
          <a:prstGeom prst="rect">
            <a:avLst/>
          </a:prstGeom>
          <a:noFill/>
        </p:spPr>
        <p:txBody>
          <a:bodyPr wrap="square" rtlCol="0">
            <a:spAutoFit/>
          </a:bodyPr>
          <a:lstStyle/>
          <a:p>
            <a:r>
              <a:rPr lang="fr-CA" dirty="0"/>
              <a:t>Date or </a:t>
            </a:r>
            <a:r>
              <a:rPr lang="fr-CA" dirty="0" err="1"/>
              <a:t>month</a:t>
            </a:r>
            <a:endParaRPr lang="en-CA" dirty="0"/>
          </a:p>
        </p:txBody>
      </p:sp>
      <p:sp>
        <p:nvSpPr>
          <p:cNvPr id="48" name="ZoneTexte 47">
            <a:extLst>
              <a:ext uri="{FF2B5EF4-FFF2-40B4-BE49-F238E27FC236}">
                <a16:creationId xmlns:a16="http://schemas.microsoft.com/office/drawing/2014/main" id="{6B16CA0D-CB1F-D6ED-89BE-F6616AE840BF}"/>
              </a:ext>
            </a:extLst>
          </p:cNvPr>
          <p:cNvSpPr txBox="1"/>
          <p:nvPr/>
        </p:nvSpPr>
        <p:spPr>
          <a:xfrm>
            <a:off x="1257300" y="5770154"/>
            <a:ext cx="2063105" cy="370380"/>
          </a:xfrm>
          <a:prstGeom prst="rect">
            <a:avLst/>
          </a:prstGeom>
          <a:noFill/>
        </p:spPr>
        <p:txBody>
          <a:bodyPr wrap="square" rtlCol="0">
            <a:spAutoFit/>
          </a:bodyPr>
          <a:lstStyle/>
          <a:p>
            <a:pPr algn="ctr"/>
            <a:r>
              <a:rPr lang="fr-CA" b="1" dirty="0"/>
              <a:t>All-staff Town Hall</a:t>
            </a:r>
            <a:endParaRPr lang="en-CA" b="1" dirty="0"/>
          </a:p>
        </p:txBody>
      </p:sp>
      <p:sp>
        <p:nvSpPr>
          <p:cNvPr id="51" name="ZoneTexte 50">
            <a:extLst>
              <a:ext uri="{FF2B5EF4-FFF2-40B4-BE49-F238E27FC236}">
                <a16:creationId xmlns:a16="http://schemas.microsoft.com/office/drawing/2014/main" id="{F808FB0B-95FB-588D-74D4-560CE24F641C}"/>
              </a:ext>
            </a:extLst>
          </p:cNvPr>
          <p:cNvSpPr txBox="1"/>
          <p:nvPr/>
        </p:nvSpPr>
        <p:spPr>
          <a:xfrm>
            <a:off x="3317914" y="1303026"/>
            <a:ext cx="1689032" cy="369332"/>
          </a:xfrm>
          <a:prstGeom prst="rect">
            <a:avLst/>
          </a:prstGeom>
          <a:noFill/>
        </p:spPr>
        <p:txBody>
          <a:bodyPr wrap="square" rtlCol="0">
            <a:spAutoFit/>
          </a:bodyPr>
          <a:lstStyle/>
          <a:p>
            <a:r>
              <a:rPr lang="fr-CA" dirty="0"/>
              <a:t>Date or </a:t>
            </a:r>
            <a:r>
              <a:rPr lang="fr-CA" dirty="0" err="1"/>
              <a:t>month</a:t>
            </a:r>
            <a:endParaRPr lang="en-CA" dirty="0"/>
          </a:p>
        </p:txBody>
      </p:sp>
      <p:sp>
        <p:nvSpPr>
          <p:cNvPr id="52" name="ZoneTexte 51">
            <a:extLst>
              <a:ext uri="{FF2B5EF4-FFF2-40B4-BE49-F238E27FC236}">
                <a16:creationId xmlns:a16="http://schemas.microsoft.com/office/drawing/2014/main" id="{FB1CCAB6-4244-F5C1-D619-C44E7D9FA0E1}"/>
              </a:ext>
            </a:extLst>
          </p:cNvPr>
          <p:cNvSpPr txBox="1"/>
          <p:nvPr/>
        </p:nvSpPr>
        <p:spPr>
          <a:xfrm>
            <a:off x="2608869" y="1603988"/>
            <a:ext cx="2756732" cy="646331"/>
          </a:xfrm>
          <a:prstGeom prst="rect">
            <a:avLst/>
          </a:prstGeom>
          <a:noFill/>
        </p:spPr>
        <p:txBody>
          <a:bodyPr wrap="square" rtlCol="0">
            <a:spAutoFit/>
          </a:bodyPr>
          <a:lstStyle/>
          <a:p>
            <a:pPr algn="ctr"/>
            <a:r>
              <a:rPr lang="fr-CA" b="1" dirty="0"/>
              <a:t>Removal of </a:t>
            </a:r>
            <a:r>
              <a:rPr lang="fr-CA" b="1" dirty="0" err="1"/>
              <a:t>personnal</a:t>
            </a:r>
            <a:r>
              <a:rPr lang="fr-CA" b="1" dirty="0"/>
              <a:t> &amp; business </a:t>
            </a:r>
            <a:r>
              <a:rPr lang="fr-CA" b="1" dirty="0" err="1"/>
              <a:t>assests</a:t>
            </a:r>
            <a:endParaRPr lang="en-CA" b="1" dirty="0"/>
          </a:p>
        </p:txBody>
      </p:sp>
      <p:sp>
        <p:nvSpPr>
          <p:cNvPr id="53" name="ZoneTexte 52">
            <a:extLst>
              <a:ext uri="{FF2B5EF4-FFF2-40B4-BE49-F238E27FC236}">
                <a16:creationId xmlns:a16="http://schemas.microsoft.com/office/drawing/2014/main" id="{77D85CA5-B859-31BE-A852-18BCBED95D02}"/>
              </a:ext>
            </a:extLst>
          </p:cNvPr>
          <p:cNvSpPr txBox="1"/>
          <p:nvPr/>
        </p:nvSpPr>
        <p:spPr>
          <a:xfrm>
            <a:off x="5104730" y="5472545"/>
            <a:ext cx="1689032" cy="369332"/>
          </a:xfrm>
          <a:prstGeom prst="rect">
            <a:avLst/>
          </a:prstGeom>
          <a:noFill/>
        </p:spPr>
        <p:txBody>
          <a:bodyPr wrap="square" rtlCol="0">
            <a:spAutoFit/>
          </a:bodyPr>
          <a:lstStyle/>
          <a:p>
            <a:r>
              <a:rPr lang="fr-CA" dirty="0"/>
              <a:t>Date or </a:t>
            </a:r>
            <a:r>
              <a:rPr lang="fr-CA" dirty="0" err="1"/>
              <a:t>month</a:t>
            </a:r>
            <a:endParaRPr lang="en-CA" dirty="0"/>
          </a:p>
        </p:txBody>
      </p:sp>
      <p:sp>
        <p:nvSpPr>
          <p:cNvPr id="54" name="ZoneTexte 53">
            <a:extLst>
              <a:ext uri="{FF2B5EF4-FFF2-40B4-BE49-F238E27FC236}">
                <a16:creationId xmlns:a16="http://schemas.microsoft.com/office/drawing/2014/main" id="{D1AF6197-0772-06C0-D39E-B685CA3A6EAD}"/>
              </a:ext>
            </a:extLst>
          </p:cNvPr>
          <p:cNvSpPr txBox="1"/>
          <p:nvPr/>
        </p:nvSpPr>
        <p:spPr>
          <a:xfrm>
            <a:off x="4400839" y="5734911"/>
            <a:ext cx="2756732" cy="646331"/>
          </a:xfrm>
          <a:prstGeom prst="rect">
            <a:avLst/>
          </a:prstGeom>
          <a:noFill/>
        </p:spPr>
        <p:txBody>
          <a:bodyPr wrap="square" rtlCol="0">
            <a:spAutoFit/>
          </a:bodyPr>
          <a:lstStyle/>
          <a:p>
            <a:pPr algn="ctr"/>
            <a:r>
              <a:rPr lang="fr-CA" b="1" dirty="0"/>
              <a:t>Guidance and </a:t>
            </a:r>
            <a:r>
              <a:rPr lang="fr-CA" b="1" dirty="0" err="1"/>
              <a:t>Familiarization</a:t>
            </a:r>
            <a:r>
              <a:rPr lang="fr-CA" b="1" dirty="0"/>
              <a:t> </a:t>
            </a:r>
            <a:r>
              <a:rPr lang="fr-CA" b="1" dirty="0" err="1"/>
              <a:t>Activities</a:t>
            </a:r>
            <a:endParaRPr lang="en-CA" b="1" dirty="0"/>
          </a:p>
        </p:txBody>
      </p:sp>
      <p:sp>
        <p:nvSpPr>
          <p:cNvPr id="56" name="ZoneTexte 55">
            <a:extLst>
              <a:ext uri="{FF2B5EF4-FFF2-40B4-BE49-F238E27FC236}">
                <a16:creationId xmlns:a16="http://schemas.microsoft.com/office/drawing/2014/main" id="{ACA4AAD1-FCBE-4C24-0B3D-DE15D577F00F}"/>
              </a:ext>
            </a:extLst>
          </p:cNvPr>
          <p:cNvSpPr txBox="1"/>
          <p:nvPr/>
        </p:nvSpPr>
        <p:spPr>
          <a:xfrm>
            <a:off x="6784018" y="1309675"/>
            <a:ext cx="1689032" cy="369332"/>
          </a:xfrm>
          <a:prstGeom prst="rect">
            <a:avLst/>
          </a:prstGeom>
          <a:noFill/>
        </p:spPr>
        <p:txBody>
          <a:bodyPr wrap="square" rtlCol="0">
            <a:spAutoFit/>
          </a:bodyPr>
          <a:lstStyle/>
          <a:p>
            <a:r>
              <a:rPr lang="fr-CA" dirty="0"/>
              <a:t>Date or </a:t>
            </a:r>
            <a:r>
              <a:rPr lang="fr-CA" dirty="0" err="1"/>
              <a:t>month</a:t>
            </a:r>
            <a:endParaRPr lang="en-CA" dirty="0"/>
          </a:p>
        </p:txBody>
      </p:sp>
      <p:sp>
        <p:nvSpPr>
          <p:cNvPr id="55" name="ZoneTexte 54">
            <a:extLst>
              <a:ext uri="{FF2B5EF4-FFF2-40B4-BE49-F238E27FC236}">
                <a16:creationId xmlns:a16="http://schemas.microsoft.com/office/drawing/2014/main" id="{7A1A59FF-8821-4234-BA1F-86BE5197E628}"/>
              </a:ext>
            </a:extLst>
          </p:cNvPr>
          <p:cNvSpPr txBox="1"/>
          <p:nvPr/>
        </p:nvSpPr>
        <p:spPr>
          <a:xfrm>
            <a:off x="6081778" y="1585937"/>
            <a:ext cx="3107449" cy="923330"/>
          </a:xfrm>
          <a:prstGeom prst="rect">
            <a:avLst/>
          </a:prstGeom>
          <a:noFill/>
        </p:spPr>
        <p:txBody>
          <a:bodyPr wrap="square" rtlCol="0">
            <a:spAutoFit/>
          </a:bodyPr>
          <a:lstStyle/>
          <a:p>
            <a:pPr algn="ctr"/>
            <a:r>
              <a:rPr lang="fr-CA" b="1" dirty="0">
                <a:highlight>
                  <a:srgbClr val="FFFF00"/>
                </a:highlight>
              </a:rPr>
              <a:t>Move </a:t>
            </a:r>
            <a:r>
              <a:rPr lang="fr-CA" b="1" i="1" dirty="0">
                <a:highlight>
                  <a:srgbClr val="FFFF00"/>
                </a:highlight>
              </a:rPr>
              <a:t>or</a:t>
            </a:r>
            <a:r>
              <a:rPr lang="fr-CA" b="1" dirty="0">
                <a:highlight>
                  <a:srgbClr val="FFFF00"/>
                </a:highlight>
              </a:rPr>
              <a:t> </a:t>
            </a:r>
            <a:r>
              <a:rPr lang="fr-CA" b="1" dirty="0" err="1">
                <a:highlight>
                  <a:srgbClr val="FFFF00"/>
                </a:highlight>
              </a:rPr>
              <a:t>Implementation</a:t>
            </a:r>
            <a:r>
              <a:rPr lang="fr-CA" b="1" dirty="0">
                <a:highlight>
                  <a:srgbClr val="FFFF00"/>
                </a:highlight>
              </a:rPr>
              <a:t> of </a:t>
            </a:r>
            <a:r>
              <a:rPr lang="fr-CA" b="1" dirty="0" err="1">
                <a:highlight>
                  <a:srgbClr val="FFFF00"/>
                </a:highlight>
              </a:rPr>
              <a:t>optimized</a:t>
            </a:r>
            <a:r>
              <a:rPr lang="fr-CA" b="1" dirty="0">
                <a:highlight>
                  <a:srgbClr val="FFFF00"/>
                </a:highlight>
              </a:rPr>
              <a:t> </a:t>
            </a:r>
            <a:r>
              <a:rPr lang="fr-CA" b="1" dirty="0" err="1">
                <a:highlight>
                  <a:srgbClr val="FFFF00"/>
                </a:highlight>
              </a:rPr>
              <a:t>workplace</a:t>
            </a:r>
            <a:r>
              <a:rPr lang="fr-CA" b="1" dirty="0">
                <a:highlight>
                  <a:srgbClr val="FFFF00"/>
                </a:highlight>
              </a:rPr>
              <a:t> </a:t>
            </a:r>
            <a:r>
              <a:rPr lang="fr-CA" b="1" dirty="0"/>
              <a:t>and new </a:t>
            </a:r>
            <a:r>
              <a:rPr lang="fr-CA" b="1" dirty="0" err="1"/>
              <a:t>utilization</a:t>
            </a:r>
            <a:r>
              <a:rPr lang="fr-CA" b="1" dirty="0"/>
              <a:t> </a:t>
            </a:r>
            <a:r>
              <a:rPr lang="fr-CA" b="1" dirty="0" err="1"/>
              <a:t>strategies</a:t>
            </a:r>
            <a:endParaRPr lang="en-CA" b="1" dirty="0"/>
          </a:p>
        </p:txBody>
      </p:sp>
      <p:sp>
        <p:nvSpPr>
          <p:cNvPr id="58" name="ZoneTexte 57">
            <a:extLst>
              <a:ext uri="{FF2B5EF4-FFF2-40B4-BE49-F238E27FC236}">
                <a16:creationId xmlns:a16="http://schemas.microsoft.com/office/drawing/2014/main" id="{62D48345-9A67-33B9-271D-D2722B58526B}"/>
              </a:ext>
            </a:extLst>
          </p:cNvPr>
          <p:cNvSpPr txBox="1"/>
          <p:nvPr/>
        </p:nvSpPr>
        <p:spPr>
          <a:xfrm>
            <a:off x="8586754" y="5411035"/>
            <a:ext cx="1689032" cy="369332"/>
          </a:xfrm>
          <a:prstGeom prst="rect">
            <a:avLst/>
          </a:prstGeom>
          <a:noFill/>
        </p:spPr>
        <p:txBody>
          <a:bodyPr wrap="square" rtlCol="0">
            <a:spAutoFit/>
          </a:bodyPr>
          <a:lstStyle/>
          <a:p>
            <a:r>
              <a:rPr lang="fr-CA" dirty="0"/>
              <a:t>Date or </a:t>
            </a:r>
            <a:r>
              <a:rPr lang="fr-CA" dirty="0" err="1"/>
              <a:t>month</a:t>
            </a:r>
            <a:endParaRPr lang="en-CA" dirty="0"/>
          </a:p>
        </p:txBody>
      </p:sp>
      <p:sp>
        <p:nvSpPr>
          <p:cNvPr id="57" name="ZoneTexte 56">
            <a:extLst>
              <a:ext uri="{FF2B5EF4-FFF2-40B4-BE49-F238E27FC236}">
                <a16:creationId xmlns:a16="http://schemas.microsoft.com/office/drawing/2014/main" id="{80C64189-743E-1D6F-BC38-898A98A32465}"/>
              </a:ext>
            </a:extLst>
          </p:cNvPr>
          <p:cNvSpPr txBox="1"/>
          <p:nvPr/>
        </p:nvSpPr>
        <p:spPr>
          <a:xfrm>
            <a:off x="8021733" y="5667747"/>
            <a:ext cx="3034194" cy="646331"/>
          </a:xfrm>
          <a:prstGeom prst="rect">
            <a:avLst/>
          </a:prstGeom>
          <a:noFill/>
        </p:spPr>
        <p:txBody>
          <a:bodyPr wrap="square" rtlCol="0">
            <a:spAutoFit/>
          </a:bodyPr>
          <a:lstStyle/>
          <a:p>
            <a:pPr algn="ctr"/>
            <a:r>
              <a:rPr lang="fr-CA" b="1" dirty="0"/>
              <a:t>Post-</a:t>
            </a:r>
            <a:r>
              <a:rPr lang="fr-CA" b="1" dirty="0" err="1"/>
              <a:t>implementation</a:t>
            </a:r>
            <a:r>
              <a:rPr lang="fr-CA" b="1" dirty="0"/>
              <a:t> </a:t>
            </a:r>
            <a:r>
              <a:rPr lang="fr-CA" b="1" dirty="0" err="1"/>
              <a:t>survey</a:t>
            </a:r>
            <a:r>
              <a:rPr lang="fr-CA" b="1" dirty="0"/>
              <a:t>, </a:t>
            </a:r>
            <a:r>
              <a:rPr lang="fr-CA" b="1" dirty="0" err="1"/>
              <a:t>adjustments</a:t>
            </a:r>
            <a:r>
              <a:rPr lang="fr-CA" b="1" dirty="0"/>
              <a:t> and </a:t>
            </a:r>
            <a:r>
              <a:rPr lang="fr-CA" b="1" dirty="0" err="1"/>
              <a:t>reinforcement</a:t>
            </a:r>
            <a:endParaRPr lang="en-CA" b="1" dirty="0"/>
          </a:p>
        </p:txBody>
      </p:sp>
      <p:sp>
        <p:nvSpPr>
          <p:cNvPr id="59" name="ZoneTexte 58">
            <a:extLst>
              <a:ext uri="{FF2B5EF4-FFF2-40B4-BE49-F238E27FC236}">
                <a16:creationId xmlns:a16="http://schemas.microsoft.com/office/drawing/2014/main" id="{9EEF3366-3763-B493-96F0-E3984E5F4223}"/>
              </a:ext>
            </a:extLst>
          </p:cNvPr>
          <p:cNvSpPr txBox="1"/>
          <p:nvPr/>
        </p:nvSpPr>
        <p:spPr>
          <a:xfrm>
            <a:off x="273788" y="2690409"/>
            <a:ext cx="2554103" cy="369332"/>
          </a:xfrm>
          <a:prstGeom prst="rect">
            <a:avLst/>
          </a:prstGeom>
          <a:noFill/>
        </p:spPr>
        <p:txBody>
          <a:bodyPr wrap="square" rtlCol="0">
            <a:spAutoFit/>
          </a:bodyPr>
          <a:lstStyle/>
          <a:p>
            <a:r>
              <a:rPr lang="fr-CA" dirty="0" err="1"/>
              <a:t>Ongoing</a:t>
            </a:r>
            <a:r>
              <a:rPr lang="fr-CA" dirty="0"/>
              <a:t> communications</a:t>
            </a:r>
            <a:endParaRPr lang="en-CA" dirty="0"/>
          </a:p>
        </p:txBody>
      </p:sp>
      <p:sp>
        <p:nvSpPr>
          <p:cNvPr id="12" name="Ellipse 11">
            <a:extLst>
              <a:ext uri="{FF2B5EF4-FFF2-40B4-BE49-F238E27FC236}">
                <a16:creationId xmlns:a16="http://schemas.microsoft.com/office/drawing/2014/main" id="{641A1C60-574D-C16D-A641-07C3B4DFAF69}"/>
              </a:ext>
              <a:ext uri="{C183D7F6-B498-43B3-948B-1728B52AA6E4}">
                <adec:decorative xmlns:adec="http://schemas.microsoft.com/office/drawing/2017/decorative" val="1"/>
              </a:ext>
            </a:extLst>
          </p:cNvPr>
          <p:cNvSpPr/>
          <p:nvPr/>
        </p:nvSpPr>
        <p:spPr>
          <a:xfrm>
            <a:off x="1788918" y="336775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Ellipse 9">
            <a:extLst>
              <a:ext uri="{FF2B5EF4-FFF2-40B4-BE49-F238E27FC236}">
                <a16:creationId xmlns:a16="http://schemas.microsoft.com/office/drawing/2014/main" id="{E49B5449-959A-7DA6-0EA2-232C2BB62871}"/>
              </a:ext>
              <a:ext uri="{C183D7F6-B498-43B3-948B-1728B52AA6E4}">
                <adec:decorative xmlns:adec="http://schemas.microsoft.com/office/drawing/2017/decorative" val="1"/>
              </a:ext>
            </a:extLst>
          </p:cNvPr>
          <p:cNvSpPr/>
          <p:nvPr/>
        </p:nvSpPr>
        <p:spPr>
          <a:xfrm>
            <a:off x="1881823" y="346227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Ellipse 8">
            <a:extLst>
              <a:ext uri="{FF2B5EF4-FFF2-40B4-BE49-F238E27FC236}">
                <a16:creationId xmlns:a16="http://schemas.microsoft.com/office/drawing/2014/main" id="{0F0AB770-5A31-5D88-5DC8-C9BAB7804201}"/>
              </a:ext>
              <a:ext uri="{C183D7F6-B498-43B3-948B-1728B52AA6E4}">
                <adec:decorative xmlns:adec="http://schemas.microsoft.com/office/drawing/2017/decorative" val="1"/>
              </a:ext>
            </a:extLst>
          </p:cNvPr>
          <p:cNvSpPr/>
          <p:nvPr/>
        </p:nvSpPr>
        <p:spPr>
          <a:xfrm>
            <a:off x="2048685" y="366416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Cercle : creux 10">
            <a:extLst>
              <a:ext uri="{FF2B5EF4-FFF2-40B4-BE49-F238E27FC236}">
                <a16:creationId xmlns:a16="http://schemas.microsoft.com/office/drawing/2014/main" id="{4168E461-9019-0256-7847-A59482620E08}"/>
              </a:ext>
              <a:ext uri="{C183D7F6-B498-43B3-948B-1728B52AA6E4}">
                <adec:decorative xmlns:adec="http://schemas.microsoft.com/office/drawing/2017/decorative" val="1"/>
              </a:ext>
            </a:extLst>
          </p:cNvPr>
          <p:cNvSpPr/>
          <p:nvPr/>
        </p:nvSpPr>
        <p:spPr>
          <a:xfrm>
            <a:off x="1915403" y="349715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cxnSp>
        <p:nvCxnSpPr>
          <p:cNvPr id="13" name="Connecteur droit 12">
            <a:extLst>
              <a:ext uri="{FF2B5EF4-FFF2-40B4-BE49-F238E27FC236}">
                <a16:creationId xmlns:a16="http://schemas.microsoft.com/office/drawing/2014/main" id="{10E575E7-B168-6981-57EE-8C43273FD31D}"/>
              </a:ext>
              <a:ext uri="{C183D7F6-B498-43B3-948B-1728B52AA6E4}">
                <adec:decorative xmlns:adec="http://schemas.microsoft.com/office/drawing/2017/decorative" val="1"/>
              </a:ext>
            </a:extLst>
          </p:cNvPr>
          <p:cNvCxnSpPr>
            <a:cxnSpLocks/>
          </p:cNvCxnSpPr>
          <p:nvPr/>
        </p:nvCxnSpPr>
        <p:spPr>
          <a:xfrm>
            <a:off x="2232822" y="423962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4" name="Arc 13">
            <a:extLst>
              <a:ext uri="{FF2B5EF4-FFF2-40B4-BE49-F238E27FC236}">
                <a16:creationId xmlns:a16="http://schemas.microsoft.com/office/drawing/2014/main" id="{E8367094-C7DF-CBCF-AF5E-8E4489281A4B}"/>
              </a:ext>
              <a:ext uri="{C183D7F6-B498-43B3-948B-1728B52AA6E4}">
                <adec:decorative xmlns:adec="http://schemas.microsoft.com/office/drawing/2017/decorative" val="1"/>
              </a:ext>
            </a:extLst>
          </p:cNvPr>
          <p:cNvSpPr/>
          <p:nvPr/>
        </p:nvSpPr>
        <p:spPr>
          <a:xfrm rot="12134810">
            <a:off x="1685654" y="324099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cxnSp>
        <p:nvCxnSpPr>
          <p:cNvPr id="7" name="Connecteur droit 6">
            <a:extLst>
              <a:ext uri="{FF2B5EF4-FFF2-40B4-BE49-F238E27FC236}">
                <a16:creationId xmlns:a16="http://schemas.microsoft.com/office/drawing/2014/main" id="{2BE5BEB0-7BD4-29A1-5362-0AE998BE7E93}"/>
              </a:ext>
              <a:ext uri="{C183D7F6-B498-43B3-948B-1728B52AA6E4}">
                <adec:decorative xmlns:adec="http://schemas.microsoft.com/office/drawing/2017/decorative" val="1"/>
              </a:ext>
            </a:extLst>
          </p:cNvPr>
          <p:cNvCxnSpPr>
            <a:cxnSpLocks/>
            <a:endCxn id="9" idx="2"/>
          </p:cNvCxnSpPr>
          <p:nvPr/>
        </p:nvCxnSpPr>
        <p:spPr>
          <a:xfrm>
            <a:off x="34836" y="3784347"/>
            <a:ext cx="201384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0" name="Ellipse 19">
            <a:extLst>
              <a:ext uri="{FF2B5EF4-FFF2-40B4-BE49-F238E27FC236}">
                <a16:creationId xmlns:a16="http://schemas.microsoft.com/office/drawing/2014/main" id="{B3A81356-6D92-78A8-3DC1-7B7F6043FA67}"/>
              </a:ext>
              <a:ext uri="{C183D7F6-B498-43B3-948B-1728B52AA6E4}">
                <adec:decorative xmlns:adec="http://schemas.microsoft.com/office/drawing/2017/decorative" val="1"/>
              </a:ext>
            </a:extLst>
          </p:cNvPr>
          <p:cNvSpPr/>
          <p:nvPr/>
        </p:nvSpPr>
        <p:spPr>
          <a:xfrm>
            <a:off x="2149800" y="525710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 name="Ellipse 2">
            <a:extLst>
              <a:ext uri="{FF2B5EF4-FFF2-40B4-BE49-F238E27FC236}">
                <a16:creationId xmlns:a16="http://schemas.microsoft.com/office/drawing/2014/main" id="{13DCD74A-6998-F023-D695-DD9F937CE93F}"/>
              </a:ext>
              <a:ext uri="{C183D7F6-B498-43B3-948B-1728B52AA6E4}">
                <adec:decorative xmlns:adec="http://schemas.microsoft.com/office/drawing/2017/decorative" val="1"/>
              </a:ext>
            </a:extLst>
          </p:cNvPr>
          <p:cNvSpPr/>
          <p:nvPr/>
        </p:nvSpPr>
        <p:spPr>
          <a:xfrm>
            <a:off x="3593479" y="3353901"/>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Ellipse 4">
            <a:extLst>
              <a:ext uri="{FF2B5EF4-FFF2-40B4-BE49-F238E27FC236}">
                <a16:creationId xmlns:a16="http://schemas.microsoft.com/office/drawing/2014/main" id="{252009ED-9673-DE27-8712-DE8DAD6E21E0}"/>
              </a:ext>
              <a:ext uri="{C183D7F6-B498-43B3-948B-1728B52AA6E4}">
                <adec:decorative xmlns:adec="http://schemas.microsoft.com/office/drawing/2017/decorative" val="1"/>
              </a:ext>
            </a:extLst>
          </p:cNvPr>
          <p:cNvSpPr/>
          <p:nvPr/>
        </p:nvSpPr>
        <p:spPr>
          <a:xfrm>
            <a:off x="3686384" y="3448418"/>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 name="Ellipse 5">
            <a:extLst>
              <a:ext uri="{FF2B5EF4-FFF2-40B4-BE49-F238E27FC236}">
                <a16:creationId xmlns:a16="http://schemas.microsoft.com/office/drawing/2014/main" id="{E26D1384-8E76-9A8B-B475-DE870612B95D}"/>
              </a:ext>
              <a:ext uri="{C183D7F6-B498-43B3-948B-1728B52AA6E4}">
                <adec:decorative xmlns:adec="http://schemas.microsoft.com/office/drawing/2017/decorative" val="1"/>
              </a:ext>
            </a:extLst>
          </p:cNvPr>
          <p:cNvSpPr/>
          <p:nvPr/>
        </p:nvSpPr>
        <p:spPr>
          <a:xfrm>
            <a:off x="3853246" y="3650312"/>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Cercle : creux 7">
            <a:extLst>
              <a:ext uri="{FF2B5EF4-FFF2-40B4-BE49-F238E27FC236}">
                <a16:creationId xmlns:a16="http://schemas.microsoft.com/office/drawing/2014/main" id="{23E99F4F-F3B2-6B21-75A4-29202AF2EDAE}"/>
              </a:ext>
              <a:ext uri="{C183D7F6-B498-43B3-948B-1728B52AA6E4}">
                <adec:decorative xmlns:adec="http://schemas.microsoft.com/office/drawing/2017/decorative" val="1"/>
              </a:ext>
            </a:extLst>
          </p:cNvPr>
          <p:cNvSpPr/>
          <p:nvPr/>
        </p:nvSpPr>
        <p:spPr>
          <a:xfrm>
            <a:off x="3719964" y="3483297"/>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cxnSp>
        <p:nvCxnSpPr>
          <p:cNvPr id="15" name="Connecteur droit 14">
            <a:extLst>
              <a:ext uri="{FF2B5EF4-FFF2-40B4-BE49-F238E27FC236}">
                <a16:creationId xmlns:a16="http://schemas.microsoft.com/office/drawing/2014/main" id="{7983B277-C430-B365-49FF-CBA08A0541FA}"/>
              </a:ext>
              <a:ext uri="{C183D7F6-B498-43B3-948B-1728B52AA6E4}">
                <adec:decorative xmlns:adec="http://schemas.microsoft.com/office/drawing/2017/decorative" val="1"/>
              </a:ext>
            </a:extLst>
          </p:cNvPr>
          <p:cNvCxnSpPr>
            <a:cxnSpLocks/>
          </p:cNvCxnSpPr>
          <p:nvPr/>
        </p:nvCxnSpPr>
        <p:spPr>
          <a:xfrm>
            <a:off x="4026358" y="2326028"/>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6" name="Arc 15">
            <a:extLst>
              <a:ext uri="{FF2B5EF4-FFF2-40B4-BE49-F238E27FC236}">
                <a16:creationId xmlns:a16="http://schemas.microsoft.com/office/drawing/2014/main" id="{60A4BDE2-E6E1-BEFA-6545-10F4A9C4B38E}"/>
              </a:ext>
              <a:ext uri="{C183D7F6-B498-43B3-948B-1728B52AA6E4}">
                <adec:decorative xmlns:adec="http://schemas.microsoft.com/office/drawing/2017/decorative" val="1"/>
              </a:ext>
            </a:extLst>
          </p:cNvPr>
          <p:cNvSpPr/>
          <p:nvPr/>
        </p:nvSpPr>
        <p:spPr>
          <a:xfrm rot="17357701">
            <a:off x="3464080" y="3232278"/>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sp>
        <p:nvSpPr>
          <p:cNvPr id="17" name="Ellipse 16">
            <a:extLst>
              <a:ext uri="{FF2B5EF4-FFF2-40B4-BE49-F238E27FC236}">
                <a16:creationId xmlns:a16="http://schemas.microsoft.com/office/drawing/2014/main" id="{BE2C8F62-70A2-F29B-59A9-A79C3CD3C98F}"/>
              </a:ext>
              <a:ext uri="{C183D7F6-B498-43B3-948B-1728B52AA6E4}">
                <adec:decorative xmlns:adec="http://schemas.microsoft.com/office/drawing/2017/decorative" val="1"/>
              </a:ext>
            </a:extLst>
          </p:cNvPr>
          <p:cNvSpPr/>
          <p:nvPr/>
        </p:nvSpPr>
        <p:spPr>
          <a:xfrm>
            <a:off x="3923190" y="2195296"/>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2" name="Connecteur droit 1">
            <a:extLst>
              <a:ext uri="{FF2B5EF4-FFF2-40B4-BE49-F238E27FC236}">
                <a16:creationId xmlns:a16="http://schemas.microsoft.com/office/drawing/2014/main" id="{C96F2F8A-400E-A20B-385F-5F541FA16016}"/>
              </a:ext>
              <a:ext uri="{C183D7F6-B498-43B3-948B-1728B52AA6E4}">
                <adec:decorative xmlns:adec="http://schemas.microsoft.com/office/drawing/2017/decorative" val="1"/>
              </a:ext>
            </a:extLst>
          </p:cNvPr>
          <p:cNvCxnSpPr>
            <a:cxnSpLocks/>
          </p:cNvCxnSpPr>
          <p:nvPr/>
        </p:nvCxnSpPr>
        <p:spPr>
          <a:xfrm>
            <a:off x="2368266" y="3803492"/>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9" name="Ellipse 18">
            <a:extLst>
              <a:ext uri="{FF2B5EF4-FFF2-40B4-BE49-F238E27FC236}">
                <a16:creationId xmlns:a16="http://schemas.microsoft.com/office/drawing/2014/main" id="{949E1EBB-B5B0-7C59-331C-F95BADD85A45}"/>
              </a:ext>
              <a:ext uri="{C183D7F6-B498-43B3-948B-1728B52AA6E4}">
                <adec:decorative xmlns:adec="http://schemas.microsoft.com/office/drawing/2017/decorative" val="1"/>
              </a:ext>
            </a:extLst>
          </p:cNvPr>
          <p:cNvSpPr/>
          <p:nvPr/>
        </p:nvSpPr>
        <p:spPr>
          <a:xfrm>
            <a:off x="5380713" y="336429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Ellipse 20">
            <a:extLst>
              <a:ext uri="{FF2B5EF4-FFF2-40B4-BE49-F238E27FC236}">
                <a16:creationId xmlns:a16="http://schemas.microsoft.com/office/drawing/2014/main" id="{8B26B707-9B50-D4B7-CE03-18C890FBEA1E}"/>
              </a:ext>
              <a:ext uri="{C183D7F6-B498-43B3-948B-1728B52AA6E4}">
                <adec:decorative xmlns:adec="http://schemas.microsoft.com/office/drawing/2017/decorative" val="1"/>
              </a:ext>
            </a:extLst>
          </p:cNvPr>
          <p:cNvSpPr/>
          <p:nvPr/>
        </p:nvSpPr>
        <p:spPr>
          <a:xfrm>
            <a:off x="5473618" y="3458809"/>
            <a:ext cx="689318" cy="682436"/>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Ellipse 21">
            <a:extLst>
              <a:ext uri="{FF2B5EF4-FFF2-40B4-BE49-F238E27FC236}">
                <a16:creationId xmlns:a16="http://schemas.microsoft.com/office/drawing/2014/main" id="{153AD99E-969D-CDB0-2F1A-03C010B4CA2F}"/>
              </a:ext>
              <a:ext uri="{C183D7F6-B498-43B3-948B-1728B52AA6E4}">
                <adec:decorative xmlns:adec="http://schemas.microsoft.com/office/drawing/2017/decorative" val="1"/>
              </a:ext>
            </a:extLst>
          </p:cNvPr>
          <p:cNvSpPr/>
          <p:nvPr/>
        </p:nvSpPr>
        <p:spPr>
          <a:xfrm>
            <a:off x="5692435" y="3660703"/>
            <a:ext cx="235376" cy="265029"/>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Cercle : creux 22">
            <a:extLst>
              <a:ext uri="{FF2B5EF4-FFF2-40B4-BE49-F238E27FC236}">
                <a16:creationId xmlns:a16="http://schemas.microsoft.com/office/drawing/2014/main" id="{5009506C-9AF6-D811-B74A-D0334300F2A4}"/>
              </a:ext>
              <a:ext uri="{C183D7F6-B498-43B3-948B-1728B52AA6E4}">
                <adec:decorative xmlns:adec="http://schemas.microsoft.com/office/drawing/2017/decorative" val="1"/>
              </a:ext>
            </a:extLst>
          </p:cNvPr>
          <p:cNvSpPr/>
          <p:nvPr/>
        </p:nvSpPr>
        <p:spPr>
          <a:xfrm>
            <a:off x="5507198" y="349368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cxnSp>
        <p:nvCxnSpPr>
          <p:cNvPr id="24" name="Connecteur droit 23">
            <a:extLst>
              <a:ext uri="{FF2B5EF4-FFF2-40B4-BE49-F238E27FC236}">
                <a16:creationId xmlns:a16="http://schemas.microsoft.com/office/drawing/2014/main" id="{4318A952-A3B7-1777-6453-931747D02D1E}"/>
              </a:ext>
              <a:ext uri="{C183D7F6-B498-43B3-948B-1728B52AA6E4}">
                <adec:decorative xmlns:adec="http://schemas.microsoft.com/office/drawing/2017/decorative" val="1"/>
              </a:ext>
            </a:extLst>
          </p:cNvPr>
          <p:cNvCxnSpPr>
            <a:cxnSpLocks/>
          </p:cNvCxnSpPr>
          <p:nvPr/>
        </p:nvCxnSpPr>
        <p:spPr>
          <a:xfrm>
            <a:off x="5824617" y="423616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5" name="Ellipse 24">
            <a:extLst>
              <a:ext uri="{FF2B5EF4-FFF2-40B4-BE49-F238E27FC236}">
                <a16:creationId xmlns:a16="http://schemas.microsoft.com/office/drawing/2014/main" id="{BB5B164B-32E5-447E-7986-F11E54636D93}"/>
              </a:ext>
              <a:ext uri="{C183D7F6-B498-43B3-948B-1728B52AA6E4}">
                <adec:decorative xmlns:adec="http://schemas.microsoft.com/office/drawing/2017/decorative" val="1"/>
              </a:ext>
            </a:extLst>
          </p:cNvPr>
          <p:cNvSpPr/>
          <p:nvPr/>
        </p:nvSpPr>
        <p:spPr>
          <a:xfrm>
            <a:off x="5741595" y="525364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18" name="Connecteur droit 17">
            <a:extLst>
              <a:ext uri="{FF2B5EF4-FFF2-40B4-BE49-F238E27FC236}">
                <a16:creationId xmlns:a16="http://schemas.microsoft.com/office/drawing/2014/main" id="{F6F2A91A-CE4A-5B32-5011-9E94214D716D}"/>
              </a:ext>
              <a:ext uri="{C183D7F6-B498-43B3-948B-1728B52AA6E4}">
                <adec:decorative xmlns:adec="http://schemas.microsoft.com/office/drawing/2017/decorative" val="1"/>
              </a:ext>
            </a:extLst>
          </p:cNvPr>
          <p:cNvCxnSpPr>
            <a:cxnSpLocks/>
          </p:cNvCxnSpPr>
          <p:nvPr/>
        </p:nvCxnSpPr>
        <p:spPr>
          <a:xfrm>
            <a:off x="4162430" y="3789636"/>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6" name="Ellipse 25">
            <a:extLst>
              <a:ext uri="{FF2B5EF4-FFF2-40B4-BE49-F238E27FC236}">
                <a16:creationId xmlns:a16="http://schemas.microsoft.com/office/drawing/2014/main" id="{F54B95CE-09AF-C40B-10E8-38309EBC5D2C}"/>
              </a:ext>
              <a:ext uri="{C183D7F6-B498-43B3-948B-1728B52AA6E4}">
                <adec:decorative xmlns:adec="http://schemas.microsoft.com/office/drawing/2017/decorative" val="1"/>
              </a:ext>
            </a:extLst>
          </p:cNvPr>
          <p:cNvSpPr/>
          <p:nvPr/>
        </p:nvSpPr>
        <p:spPr>
          <a:xfrm>
            <a:off x="7164484" y="336082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Ellipse 26">
            <a:extLst>
              <a:ext uri="{FF2B5EF4-FFF2-40B4-BE49-F238E27FC236}">
                <a16:creationId xmlns:a16="http://schemas.microsoft.com/office/drawing/2014/main" id="{00CEC2D0-B816-A4AA-98FF-42B3C53A244F}"/>
              </a:ext>
              <a:ext uri="{C183D7F6-B498-43B3-948B-1728B52AA6E4}">
                <adec:decorative xmlns:adec="http://schemas.microsoft.com/office/drawing/2017/decorative" val="1"/>
              </a:ext>
            </a:extLst>
          </p:cNvPr>
          <p:cNvSpPr/>
          <p:nvPr/>
        </p:nvSpPr>
        <p:spPr>
          <a:xfrm>
            <a:off x="7257389" y="3455344"/>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8" name="Ellipse 27">
            <a:extLst>
              <a:ext uri="{FF2B5EF4-FFF2-40B4-BE49-F238E27FC236}">
                <a16:creationId xmlns:a16="http://schemas.microsoft.com/office/drawing/2014/main" id="{E24B5A4D-D3D0-4B88-EE19-E2BACA852406}"/>
              </a:ext>
              <a:ext uri="{C183D7F6-B498-43B3-948B-1728B52AA6E4}">
                <adec:decorative xmlns:adec="http://schemas.microsoft.com/office/drawing/2017/decorative" val="1"/>
              </a:ext>
            </a:extLst>
          </p:cNvPr>
          <p:cNvSpPr/>
          <p:nvPr/>
        </p:nvSpPr>
        <p:spPr>
          <a:xfrm>
            <a:off x="7424251" y="3657238"/>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Cercle : creux 28">
            <a:extLst>
              <a:ext uri="{FF2B5EF4-FFF2-40B4-BE49-F238E27FC236}">
                <a16:creationId xmlns:a16="http://schemas.microsoft.com/office/drawing/2014/main" id="{EDA9D9ED-7A9A-1762-D5B3-9D3978C4998E}"/>
              </a:ext>
              <a:ext uri="{C183D7F6-B498-43B3-948B-1728B52AA6E4}">
                <adec:decorative xmlns:adec="http://schemas.microsoft.com/office/drawing/2017/decorative" val="1"/>
              </a:ext>
            </a:extLst>
          </p:cNvPr>
          <p:cNvSpPr/>
          <p:nvPr/>
        </p:nvSpPr>
        <p:spPr>
          <a:xfrm>
            <a:off x="7290969" y="349022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cxnSp>
        <p:nvCxnSpPr>
          <p:cNvPr id="30" name="Connecteur droit 29">
            <a:extLst>
              <a:ext uri="{FF2B5EF4-FFF2-40B4-BE49-F238E27FC236}">
                <a16:creationId xmlns:a16="http://schemas.microsoft.com/office/drawing/2014/main" id="{1915A0C8-9419-C7AD-D3E1-83CFAEC77A44}"/>
              </a:ext>
              <a:ext uri="{C183D7F6-B498-43B3-948B-1728B52AA6E4}">
                <adec:decorative xmlns:adec="http://schemas.microsoft.com/office/drawing/2017/decorative" val="1"/>
              </a:ext>
            </a:extLst>
          </p:cNvPr>
          <p:cNvCxnSpPr>
            <a:cxnSpLocks/>
          </p:cNvCxnSpPr>
          <p:nvPr/>
        </p:nvCxnSpPr>
        <p:spPr>
          <a:xfrm>
            <a:off x="7597363" y="2332954"/>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1" name="Arc 30">
            <a:extLst>
              <a:ext uri="{FF2B5EF4-FFF2-40B4-BE49-F238E27FC236}">
                <a16:creationId xmlns:a16="http://schemas.microsoft.com/office/drawing/2014/main" id="{89EC5A0B-8CD2-4D4C-3E71-927F1BFDB370}"/>
              </a:ext>
              <a:ext uri="{C183D7F6-B498-43B3-948B-1728B52AA6E4}">
                <adec:decorative xmlns:adec="http://schemas.microsoft.com/office/drawing/2017/decorative" val="1"/>
              </a:ext>
            </a:extLst>
          </p:cNvPr>
          <p:cNvSpPr/>
          <p:nvPr/>
        </p:nvSpPr>
        <p:spPr>
          <a:xfrm rot="17357701">
            <a:off x="7035085" y="3239204"/>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sp>
        <p:nvSpPr>
          <p:cNvPr id="32" name="Ellipse 31">
            <a:extLst>
              <a:ext uri="{FF2B5EF4-FFF2-40B4-BE49-F238E27FC236}">
                <a16:creationId xmlns:a16="http://schemas.microsoft.com/office/drawing/2014/main" id="{CA864140-7987-A572-621D-80A839AD187F}"/>
              </a:ext>
              <a:ext uri="{C183D7F6-B498-43B3-948B-1728B52AA6E4}">
                <adec:decorative xmlns:adec="http://schemas.microsoft.com/office/drawing/2017/decorative" val="1"/>
              </a:ext>
            </a:extLst>
          </p:cNvPr>
          <p:cNvSpPr/>
          <p:nvPr/>
        </p:nvSpPr>
        <p:spPr>
          <a:xfrm>
            <a:off x="7494195" y="2202222"/>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33" name="Connecteur droit 32">
            <a:extLst>
              <a:ext uri="{FF2B5EF4-FFF2-40B4-BE49-F238E27FC236}">
                <a16:creationId xmlns:a16="http://schemas.microsoft.com/office/drawing/2014/main" id="{D19EECE6-254E-49CD-0954-2FF1EB8394B8}"/>
              </a:ext>
              <a:ext uri="{C183D7F6-B498-43B3-948B-1728B52AA6E4}">
                <adec:decorative xmlns:adec="http://schemas.microsoft.com/office/drawing/2017/decorative" val="1"/>
              </a:ext>
            </a:extLst>
          </p:cNvPr>
          <p:cNvCxnSpPr>
            <a:cxnSpLocks/>
          </p:cNvCxnSpPr>
          <p:nvPr/>
        </p:nvCxnSpPr>
        <p:spPr>
          <a:xfrm>
            <a:off x="5942770" y="3818017"/>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4" name="Arc 33">
            <a:extLst>
              <a:ext uri="{FF2B5EF4-FFF2-40B4-BE49-F238E27FC236}">
                <a16:creationId xmlns:a16="http://schemas.microsoft.com/office/drawing/2014/main" id="{DED31946-3A88-3B27-CAFD-D81126891350}"/>
              </a:ext>
              <a:ext uri="{C183D7F6-B498-43B3-948B-1728B52AA6E4}">
                <adec:decorative xmlns:adec="http://schemas.microsoft.com/office/drawing/2017/decorative" val="1"/>
              </a:ext>
            </a:extLst>
          </p:cNvPr>
          <p:cNvSpPr/>
          <p:nvPr/>
        </p:nvSpPr>
        <p:spPr>
          <a:xfrm rot="12134810">
            <a:off x="5277449" y="3227142"/>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sp>
        <p:nvSpPr>
          <p:cNvPr id="35" name="Ellipse 34">
            <a:extLst>
              <a:ext uri="{FF2B5EF4-FFF2-40B4-BE49-F238E27FC236}">
                <a16:creationId xmlns:a16="http://schemas.microsoft.com/office/drawing/2014/main" id="{0AD30AF3-6F71-6556-CAD0-415C4A0ED505}"/>
              </a:ext>
              <a:ext uri="{C183D7F6-B498-43B3-948B-1728B52AA6E4}">
                <adec:decorative xmlns:adec="http://schemas.microsoft.com/office/drawing/2017/decorative" val="1"/>
              </a:ext>
            </a:extLst>
          </p:cNvPr>
          <p:cNvSpPr/>
          <p:nvPr/>
        </p:nvSpPr>
        <p:spPr>
          <a:xfrm>
            <a:off x="8965567" y="341624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Ellipse 35">
            <a:extLst>
              <a:ext uri="{FF2B5EF4-FFF2-40B4-BE49-F238E27FC236}">
                <a16:creationId xmlns:a16="http://schemas.microsoft.com/office/drawing/2014/main" id="{5C90F134-E0D2-DCDE-ECD6-B419D029FA78}"/>
              </a:ext>
              <a:ext uri="{C183D7F6-B498-43B3-948B-1728B52AA6E4}">
                <adec:decorative xmlns:adec="http://schemas.microsoft.com/office/drawing/2017/decorative" val="1"/>
              </a:ext>
            </a:extLst>
          </p:cNvPr>
          <p:cNvSpPr/>
          <p:nvPr/>
        </p:nvSpPr>
        <p:spPr>
          <a:xfrm>
            <a:off x="9058472" y="351076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7" name="Ellipse 36">
            <a:extLst>
              <a:ext uri="{FF2B5EF4-FFF2-40B4-BE49-F238E27FC236}">
                <a16:creationId xmlns:a16="http://schemas.microsoft.com/office/drawing/2014/main" id="{18901499-BBEF-67D4-3F59-37A24ED0BEED}"/>
              </a:ext>
              <a:ext uri="{C183D7F6-B498-43B3-948B-1728B52AA6E4}">
                <adec:decorative xmlns:adec="http://schemas.microsoft.com/office/drawing/2017/decorative" val="1"/>
              </a:ext>
            </a:extLst>
          </p:cNvPr>
          <p:cNvSpPr/>
          <p:nvPr/>
        </p:nvSpPr>
        <p:spPr>
          <a:xfrm>
            <a:off x="9225334" y="371265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8" name="Cercle : creux 37">
            <a:extLst>
              <a:ext uri="{FF2B5EF4-FFF2-40B4-BE49-F238E27FC236}">
                <a16:creationId xmlns:a16="http://schemas.microsoft.com/office/drawing/2014/main" id="{C4B3ACDF-F9DE-5445-B161-1597312A56A1}"/>
              </a:ext>
              <a:ext uri="{C183D7F6-B498-43B3-948B-1728B52AA6E4}">
                <adec:decorative xmlns:adec="http://schemas.microsoft.com/office/drawing/2017/decorative" val="1"/>
              </a:ext>
            </a:extLst>
          </p:cNvPr>
          <p:cNvSpPr/>
          <p:nvPr/>
        </p:nvSpPr>
        <p:spPr>
          <a:xfrm>
            <a:off x="9092052" y="354564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cxnSp>
        <p:nvCxnSpPr>
          <p:cNvPr id="39" name="Connecteur droit 38">
            <a:extLst>
              <a:ext uri="{FF2B5EF4-FFF2-40B4-BE49-F238E27FC236}">
                <a16:creationId xmlns:a16="http://schemas.microsoft.com/office/drawing/2014/main" id="{4BB8F730-2294-2BB6-31E9-6C5CD1F8760C}"/>
              </a:ext>
              <a:ext uri="{C183D7F6-B498-43B3-948B-1728B52AA6E4}">
                <adec:decorative xmlns:adec="http://schemas.microsoft.com/office/drawing/2017/decorative" val="1"/>
              </a:ext>
            </a:extLst>
          </p:cNvPr>
          <p:cNvCxnSpPr>
            <a:cxnSpLocks/>
          </p:cNvCxnSpPr>
          <p:nvPr/>
        </p:nvCxnSpPr>
        <p:spPr>
          <a:xfrm>
            <a:off x="9409471" y="428811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0" name="Arc 39">
            <a:extLst>
              <a:ext uri="{FF2B5EF4-FFF2-40B4-BE49-F238E27FC236}">
                <a16:creationId xmlns:a16="http://schemas.microsoft.com/office/drawing/2014/main" id="{64D76BAA-855E-6319-281A-AEEFD5B609B2}"/>
              </a:ext>
              <a:ext uri="{C183D7F6-B498-43B3-948B-1728B52AA6E4}">
                <adec:decorative xmlns:adec="http://schemas.microsoft.com/office/drawing/2017/decorative" val="1"/>
              </a:ext>
            </a:extLst>
          </p:cNvPr>
          <p:cNvSpPr/>
          <p:nvPr/>
        </p:nvSpPr>
        <p:spPr>
          <a:xfrm rot="12134810">
            <a:off x="8862303" y="328948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sp>
        <p:nvSpPr>
          <p:cNvPr id="41" name="Ellipse 40">
            <a:extLst>
              <a:ext uri="{FF2B5EF4-FFF2-40B4-BE49-F238E27FC236}">
                <a16:creationId xmlns:a16="http://schemas.microsoft.com/office/drawing/2014/main" id="{D4C84D6D-4280-615B-12A1-87A6343C60F4}"/>
              </a:ext>
              <a:ext uri="{C183D7F6-B498-43B3-948B-1728B52AA6E4}">
                <adec:decorative xmlns:adec="http://schemas.microsoft.com/office/drawing/2017/decorative" val="1"/>
              </a:ext>
            </a:extLst>
          </p:cNvPr>
          <p:cNvSpPr/>
          <p:nvPr/>
        </p:nvSpPr>
        <p:spPr>
          <a:xfrm>
            <a:off x="9326449" y="530559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42" name="Connecteur droit 41">
            <a:extLst>
              <a:ext uri="{FF2B5EF4-FFF2-40B4-BE49-F238E27FC236}">
                <a16:creationId xmlns:a16="http://schemas.microsoft.com/office/drawing/2014/main" id="{13A6E390-93FA-DA58-F68C-B5F177D1BD2C}"/>
              </a:ext>
              <a:ext uri="{C183D7F6-B498-43B3-948B-1728B52AA6E4}">
                <adec:decorative xmlns:adec="http://schemas.microsoft.com/office/drawing/2017/decorative" val="1"/>
              </a:ext>
            </a:extLst>
          </p:cNvPr>
          <p:cNvCxnSpPr>
            <a:cxnSpLocks/>
            <a:endCxn id="37" idx="2"/>
          </p:cNvCxnSpPr>
          <p:nvPr/>
        </p:nvCxnSpPr>
        <p:spPr>
          <a:xfrm>
            <a:off x="7710003" y="3830353"/>
            <a:ext cx="1515331" cy="14820"/>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43" name="Connecteur droit 42">
            <a:extLst>
              <a:ext uri="{FF2B5EF4-FFF2-40B4-BE49-F238E27FC236}">
                <a16:creationId xmlns:a16="http://schemas.microsoft.com/office/drawing/2014/main" id="{7B3B1AD4-3FA7-7099-D700-61286027097C}"/>
              </a:ext>
              <a:ext uri="{C183D7F6-B498-43B3-948B-1728B52AA6E4}">
                <adec:decorative xmlns:adec="http://schemas.microsoft.com/office/drawing/2017/decorative" val="1"/>
              </a:ext>
            </a:extLst>
          </p:cNvPr>
          <p:cNvCxnSpPr>
            <a:cxnSpLocks/>
          </p:cNvCxnSpPr>
          <p:nvPr/>
        </p:nvCxnSpPr>
        <p:spPr>
          <a:xfrm flipV="1">
            <a:off x="9558759" y="3837763"/>
            <a:ext cx="2633241" cy="14219"/>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63" name="Connecteur droit avec flèche 62">
            <a:extLst>
              <a:ext uri="{FF2B5EF4-FFF2-40B4-BE49-F238E27FC236}">
                <a16:creationId xmlns:a16="http://schemas.microsoft.com/office/drawing/2014/main" id="{B32AA51F-1724-BA56-E823-B032DD85AA41}"/>
              </a:ext>
              <a:ext uri="{C183D7F6-B498-43B3-948B-1728B52AA6E4}">
                <adec:decorative xmlns:adec="http://schemas.microsoft.com/office/drawing/2017/decorative" val="1"/>
              </a:ext>
            </a:extLst>
          </p:cNvPr>
          <p:cNvCxnSpPr>
            <a:cxnSpLocks/>
          </p:cNvCxnSpPr>
          <p:nvPr/>
        </p:nvCxnSpPr>
        <p:spPr>
          <a:xfrm>
            <a:off x="2868377" y="2875075"/>
            <a:ext cx="7678396" cy="0"/>
          </a:xfrm>
          <a:prstGeom prst="straightConnector1">
            <a:avLst/>
          </a:prstGeom>
          <a:ln>
            <a:prstDash val="dash"/>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8656738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5F31FD-D91B-2F1F-48B5-8229C5FFF47F}"/>
              </a:ext>
            </a:extLst>
          </p:cNvPr>
          <p:cNvSpPr>
            <a:spLocks noGrp="1"/>
          </p:cNvSpPr>
          <p:nvPr>
            <p:ph type="title"/>
          </p:nvPr>
        </p:nvSpPr>
        <p:spPr/>
        <p:txBody>
          <a:bodyPr>
            <a:normAutofit/>
          </a:bodyPr>
          <a:lstStyle/>
          <a:p>
            <a:r>
              <a:rPr lang="en-CA" dirty="0"/>
              <a:t>My role as Sponsor of the optimization project</a:t>
            </a:r>
          </a:p>
        </p:txBody>
      </p:sp>
      <p:sp>
        <p:nvSpPr>
          <p:cNvPr id="3" name="Text Placeholder 2">
            <a:extLst>
              <a:ext uri="{FF2B5EF4-FFF2-40B4-BE49-F238E27FC236}">
                <a16:creationId xmlns:a16="http://schemas.microsoft.com/office/drawing/2014/main" id="{DE69AC7C-2B0D-CF31-48EE-53792B4D724E}"/>
              </a:ext>
            </a:extLst>
          </p:cNvPr>
          <p:cNvSpPr>
            <a:spLocks noGrp="1"/>
          </p:cNvSpPr>
          <p:nvPr>
            <p:ph type="body" sz="half" idx="2"/>
          </p:nvPr>
        </p:nvSpPr>
        <p:spPr>
          <a:xfrm>
            <a:off x="508760" y="2285615"/>
            <a:ext cx="5332060" cy="3059017"/>
          </a:xfrm>
        </p:spPr>
        <p:txBody>
          <a:bodyPr lIns="91440" tIns="45720" rIns="91440" bIns="45720" anchor="t">
            <a:normAutofit fontScale="25000" lnSpcReduction="20000"/>
          </a:bodyPr>
          <a:lstStyle/>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Build the governance around the project and supervise the project team</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Oversee the Change management strategy</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Show my commitment to this project and lead by example - I will release my assigned office </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Communicate the vision, inform and provide updates on the project</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Make sure you are well equipped to support your teams </a:t>
            </a:r>
          </a:p>
          <a:p>
            <a:endParaRPr lang="en-CA" dirty="0">
              <a:latin typeface="Calibri"/>
              <a:cs typeface="Calibri"/>
            </a:endParaRPr>
          </a:p>
        </p:txBody>
      </p:sp>
      <p:grpSp>
        <p:nvGrpSpPr>
          <p:cNvPr id="2" name="Group 1">
            <a:extLst>
              <a:ext uri="{FF2B5EF4-FFF2-40B4-BE49-F238E27FC236}">
                <a16:creationId xmlns:a16="http://schemas.microsoft.com/office/drawing/2014/main" id="{661B2616-8850-EF91-157D-D23F4AB9BD14}"/>
              </a:ext>
              <a:ext uri="{C183D7F6-B498-43B3-948B-1728B52AA6E4}">
                <adec:decorative xmlns:adec="http://schemas.microsoft.com/office/drawing/2017/decorative" val="1"/>
              </a:ext>
            </a:extLst>
          </p:cNvPr>
          <p:cNvGrpSpPr/>
          <p:nvPr/>
        </p:nvGrpSpPr>
        <p:grpSpPr>
          <a:xfrm>
            <a:off x="6676462" y="1470032"/>
            <a:ext cx="3843977" cy="4837107"/>
            <a:chOff x="6676462" y="1470032"/>
            <a:chExt cx="3843977" cy="4837107"/>
          </a:xfrm>
        </p:grpSpPr>
        <p:sp>
          <p:nvSpPr>
            <p:cNvPr id="33" name="Oval 32">
              <a:extLst>
                <a:ext uri="{FF2B5EF4-FFF2-40B4-BE49-F238E27FC236}">
                  <a16:creationId xmlns:a16="http://schemas.microsoft.com/office/drawing/2014/main" id="{D65CC404-CAC3-6E60-A318-20FF342575B0}"/>
                </a:ext>
                <a:ext uri="{C183D7F6-B498-43B3-948B-1728B52AA6E4}">
                  <adec:decorative xmlns:adec="http://schemas.microsoft.com/office/drawing/2017/decorative" val="1"/>
                </a:ext>
              </a:extLst>
            </p:cNvPr>
            <p:cNvSpPr/>
            <p:nvPr/>
          </p:nvSpPr>
          <p:spPr>
            <a:xfrm>
              <a:off x="9145076" y="5259051"/>
              <a:ext cx="407827" cy="40782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Ellipse 5">
              <a:extLst>
                <a:ext uri="{FF2B5EF4-FFF2-40B4-BE49-F238E27FC236}">
                  <a16:creationId xmlns:a16="http://schemas.microsoft.com/office/drawing/2014/main" id="{6ACEFB4F-F092-80B3-5010-EF9617D5330E}"/>
                </a:ext>
                <a:ext uri="{C183D7F6-B498-43B3-948B-1728B52AA6E4}">
                  <adec:decorative xmlns:adec="http://schemas.microsoft.com/office/drawing/2017/decorative" val="1"/>
                </a:ext>
              </a:extLst>
            </p:cNvPr>
            <p:cNvSpPr/>
            <p:nvPr/>
          </p:nvSpPr>
          <p:spPr>
            <a:xfrm>
              <a:off x="9761448" y="3650824"/>
              <a:ext cx="419969" cy="47287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Ellipse 21">
              <a:extLst>
                <a:ext uri="{FF2B5EF4-FFF2-40B4-BE49-F238E27FC236}">
                  <a16:creationId xmlns:a16="http://schemas.microsoft.com/office/drawing/2014/main" id="{A2BDCF0E-ABB4-1B44-1450-FCFBFF1F5003}"/>
                </a:ext>
                <a:ext uri="{C183D7F6-B498-43B3-948B-1728B52AA6E4}">
                  <adec:decorative xmlns:adec="http://schemas.microsoft.com/office/drawing/2017/decorative" val="1"/>
                </a:ext>
              </a:extLst>
            </p:cNvPr>
            <p:cNvSpPr/>
            <p:nvPr/>
          </p:nvSpPr>
          <p:spPr>
            <a:xfrm>
              <a:off x="8941163" y="2088375"/>
              <a:ext cx="350343" cy="394480"/>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27" name="Group 26">
              <a:extLst>
                <a:ext uri="{FF2B5EF4-FFF2-40B4-BE49-F238E27FC236}">
                  <a16:creationId xmlns:a16="http://schemas.microsoft.com/office/drawing/2014/main" id="{A4FA5544-0B54-A81C-92CD-D2CF76EEB919}"/>
                </a:ext>
                <a:ext uri="{C183D7F6-B498-43B3-948B-1728B52AA6E4}">
                  <adec:decorative xmlns:adec="http://schemas.microsoft.com/office/drawing/2017/decorative" val="1"/>
                </a:ext>
              </a:extLst>
            </p:cNvPr>
            <p:cNvGrpSpPr/>
            <p:nvPr/>
          </p:nvGrpSpPr>
          <p:grpSpPr>
            <a:xfrm>
              <a:off x="7575086" y="2661738"/>
              <a:ext cx="1900464" cy="2417231"/>
              <a:chOff x="7498386" y="2375486"/>
              <a:chExt cx="2206210" cy="2806114"/>
            </a:xfrm>
          </p:grpSpPr>
          <p:cxnSp>
            <p:nvCxnSpPr>
              <p:cNvPr id="22" name="Straight Connector 21">
                <a:extLst>
                  <a:ext uri="{FF2B5EF4-FFF2-40B4-BE49-F238E27FC236}">
                    <a16:creationId xmlns:a16="http://schemas.microsoft.com/office/drawing/2014/main" id="{28CE36A2-B53A-CD4C-7986-31F3E2BCAC62}"/>
                  </a:ext>
                </a:extLst>
              </p:cNvPr>
              <p:cNvCxnSpPr/>
              <p:nvPr/>
            </p:nvCxnSpPr>
            <p:spPr>
              <a:xfrm>
                <a:off x="7518445" y="3767948"/>
                <a:ext cx="2186151" cy="0"/>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9462034-E1B6-6A87-6CFE-0E7EBAB30521}"/>
                  </a:ext>
                </a:extLst>
              </p:cNvPr>
              <p:cNvCxnSpPr>
                <a:cxnSpLocks/>
              </p:cNvCxnSpPr>
              <p:nvPr/>
            </p:nvCxnSpPr>
            <p:spPr>
              <a:xfrm>
                <a:off x="7518445" y="3758913"/>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54D3AA0-EA97-92CE-B679-7FCC941FA581}"/>
                  </a:ext>
                </a:extLst>
              </p:cNvPr>
              <p:cNvCxnSpPr>
                <a:cxnSpLocks/>
              </p:cNvCxnSpPr>
              <p:nvPr/>
            </p:nvCxnSpPr>
            <p:spPr>
              <a:xfrm flipV="1">
                <a:off x="7498386" y="2375486"/>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grpSp>
        <p:pic>
          <p:nvPicPr>
            <p:cNvPr id="11" name="Graphic 10" descr="Continuous Improvement outline">
              <a:extLst>
                <a:ext uri="{FF2B5EF4-FFF2-40B4-BE49-F238E27FC236}">
                  <a16:creationId xmlns:a16="http://schemas.microsoft.com/office/drawing/2014/main" id="{C753CFF1-02FD-BF89-6B3B-119A798B7DA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97956" y="1470032"/>
              <a:ext cx="1636758" cy="1636758"/>
            </a:xfrm>
            <a:prstGeom prst="rect">
              <a:avLst/>
            </a:prstGeom>
          </p:spPr>
        </p:pic>
        <p:pic>
          <p:nvPicPr>
            <p:cNvPr id="13" name="Graphic 12" descr="Chat outline">
              <a:extLst>
                <a:ext uri="{FF2B5EF4-FFF2-40B4-BE49-F238E27FC236}">
                  <a16:creationId xmlns:a16="http://schemas.microsoft.com/office/drawing/2014/main" id="{D330C3AE-3499-2DA0-C667-8E35256CBDC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12519" y="4838241"/>
              <a:ext cx="1468898" cy="1468898"/>
            </a:xfrm>
            <a:prstGeom prst="rect">
              <a:avLst/>
            </a:prstGeom>
          </p:spPr>
        </p:pic>
        <p:pic>
          <p:nvPicPr>
            <p:cNvPr id="15" name="Graphic 14" descr="Clipboard Partially Checked outline">
              <a:extLst>
                <a:ext uri="{FF2B5EF4-FFF2-40B4-BE49-F238E27FC236}">
                  <a16:creationId xmlns:a16="http://schemas.microsoft.com/office/drawing/2014/main" id="{E6E27A8F-134D-2C11-659C-0EF96F386A9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48990" y="3229398"/>
              <a:ext cx="1171449" cy="1171449"/>
            </a:xfrm>
            <a:prstGeom prst="rect">
              <a:avLst/>
            </a:prstGeom>
          </p:spPr>
        </p:pic>
        <p:sp>
          <p:nvSpPr>
            <p:cNvPr id="28" name="Oval 27">
              <a:extLst>
                <a:ext uri="{FF2B5EF4-FFF2-40B4-BE49-F238E27FC236}">
                  <a16:creationId xmlns:a16="http://schemas.microsoft.com/office/drawing/2014/main" id="{05B7BA9A-A431-40EF-F3A2-3B3C7851D452}"/>
                </a:ext>
                <a:ext uri="{C183D7F6-B498-43B3-948B-1728B52AA6E4}">
                  <adec:decorative xmlns:adec="http://schemas.microsoft.com/office/drawing/2017/decorative" val="1"/>
                </a:ext>
              </a:extLst>
            </p:cNvPr>
            <p:cNvSpPr/>
            <p:nvPr/>
          </p:nvSpPr>
          <p:spPr>
            <a:xfrm>
              <a:off x="6676462" y="3229398"/>
              <a:ext cx="1171449" cy="1171449"/>
            </a:xfrm>
            <a:prstGeom prst="ellipse">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0" name="Graphic 29" descr="User with solid fill">
              <a:extLst>
                <a:ext uri="{FF2B5EF4-FFF2-40B4-BE49-F238E27FC236}">
                  <a16:creationId xmlns:a16="http://schemas.microsoft.com/office/drawing/2014/main" id="{DACBDE29-0C8E-38AB-01BA-BB4457F3FED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804987" y="3311924"/>
              <a:ext cx="914400" cy="914400"/>
            </a:xfrm>
            <a:prstGeom prst="rect">
              <a:avLst/>
            </a:prstGeom>
          </p:spPr>
        </p:pic>
      </p:grpSp>
    </p:spTree>
    <p:extLst>
      <p:ext uri="{BB962C8B-B14F-4D97-AF65-F5344CB8AC3E}">
        <p14:creationId xmlns:p14="http://schemas.microsoft.com/office/powerpoint/2010/main" val="26485893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5968</TotalTime>
  <Words>1685</Words>
  <Application>Microsoft Office PowerPoint</Application>
  <PresentationFormat>Widescreen</PresentationFormat>
  <Paragraphs>192</Paragraphs>
  <Slides>23</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2" baseType="lpstr">
      <vt:lpstr>Arial</vt:lpstr>
      <vt:lpstr>Arial Rounded MT Bold</vt:lpstr>
      <vt:lpstr>Avenir Next LT Pro</vt:lpstr>
      <vt:lpstr>Calibri</vt:lpstr>
      <vt:lpstr>Calibri Light</vt:lpstr>
      <vt:lpstr>Courier New</vt:lpstr>
      <vt:lpstr>Georgia</vt:lpstr>
      <vt:lpstr>1_Office Theme</vt:lpstr>
      <vt:lpstr>think-cell Slide</vt:lpstr>
      <vt:lpstr>Managing Workplace Change</vt:lpstr>
      <vt:lpstr>How to use this document</vt:lpstr>
      <vt:lpstr>Presentation Objectives</vt:lpstr>
      <vt:lpstr>The Government of Canada’s Office Space Portfolio</vt:lpstr>
      <vt:lpstr>Unassigned Office Space Seating by Default: The Impact on the Government of Canada’s Office Portfolio </vt:lpstr>
      <vt:lpstr>Our vision</vt:lpstr>
      <vt:lpstr>What does it mean for our organization</vt:lpstr>
      <vt:lpstr>Timeline</vt:lpstr>
      <vt:lpstr>My role as Sponsor of the optimization project</vt:lpstr>
      <vt:lpstr>Change management Strategy Blueprint</vt:lpstr>
      <vt:lpstr>Your manager’s Change management toolkit</vt:lpstr>
      <vt:lpstr>Why are managers so important during change? </vt:lpstr>
      <vt:lpstr>Your role</vt:lpstr>
      <vt:lpstr>The benefits of communicating during a change</vt:lpstr>
      <vt:lpstr>Your Employees Want to Hear About Change From You</vt:lpstr>
      <vt:lpstr>Advocate and lead by example</vt:lpstr>
      <vt:lpstr>Coaching and managing resistance</vt:lpstr>
      <vt:lpstr>Considering our Employees Needs – the Change Curve Model</vt:lpstr>
      <vt:lpstr>Practice Compassion and Grace</vt:lpstr>
      <vt:lpstr>Supporting Your Employees Through the Change Curve</vt:lpstr>
      <vt:lpstr>Supporting Employees</vt:lpstr>
      <vt:lpstr>Equiping Yourself to Succeed</vt:lpstr>
      <vt:lpstr>Next Step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Menard, Alexandrine (SPAC/PSPC)</cp:lastModifiedBy>
  <cp:revision>549</cp:revision>
  <dcterms:created xsi:type="dcterms:W3CDTF">2018-01-23T15:59:12Z</dcterms:created>
  <dcterms:modified xsi:type="dcterms:W3CDTF">2024-10-17T19:49: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2016153304</vt:i4>
  </property>
  <property fmtid="{D5CDD505-2E9C-101B-9397-08002B2CF9AE}" pid="3" name="_NewReviewCycle">
    <vt:lpwstr/>
  </property>
  <property fmtid="{D5CDD505-2E9C-101B-9397-08002B2CF9AE}" pid="4" name="_EmailSubject">
    <vt:lpwstr>People Manager toolkit</vt:lpwstr>
  </property>
  <property fmtid="{D5CDD505-2E9C-101B-9397-08002B2CF9AE}" pid="5" name="_AuthorEmail">
    <vt:lpwstr>Chantal.Bemeur@tpsgc-pwgsc.gc.ca</vt:lpwstr>
  </property>
  <property fmtid="{D5CDD505-2E9C-101B-9397-08002B2CF9AE}" pid="6" name="_AuthorEmailDisplayName">
    <vt:lpwstr>Bemeur, Chantal (SPAC/PSPC)</vt:lpwstr>
  </property>
  <property fmtid="{D5CDD505-2E9C-101B-9397-08002B2CF9AE}" pid="7" name="MSIP_Label_834ed4f5-eae4-40c7-82be-b1cdf720a1b9_Enabled">
    <vt:lpwstr>true</vt:lpwstr>
  </property>
  <property fmtid="{D5CDD505-2E9C-101B-9397-08002B2CF9AE}" pid="8" name="MSIP_Label_834ed4f5-eae4-40c7-82be-b1cdf720a1b9_SetDate">
    <vt:lpwstr>2024-06-04T18:28:53Z</vt:lpwstr>
  </property>
  <property fmtid="{D5CDD505-2E9C-101B-9397-08002B2CF9AE}" pid="9" name="MSIP_Label_834ed4f5-eae4-40c7-82be-b1cdf720a1b9_Method">
    <vt:lpwstr>Standard</vt:lpwstr>
  </property>
  <property fmtid="{D5CDD505-2E9C-101B-9397-08002B2CF9AE}" pid="10" name="MSIP_Label_834ed4f5-eae4-40c7-82be-b1cdf720a1b9_Name">
    <vt:lpwstr>Unclassified - Non classifié</vt:lpwstr>
  </property>
  <property fmtid="{D5CDD505-2E9C-101B-9397-08002B2CF9AE}" pid="11" name="MSIP_Label_834ed4f5-eae4-40c7-82be-b1cdf720a1b9_SiteId">
    <vt:lpwstr>e0d54a3c-7bbe-4a64-9d46-f9f84a41c833</vt:lpwstr>
  </property>
  <property fmtid="{D5CDD505-2E9C-101B-9397-08002B2CF9AE}" pid="12" name="MSIP_Label_834ed4f5-eae4-40c7-82be-b1cdf720a1b9_ActionId">
    <vt:lpwstr>e0ecf9c5-6e01-49d0-8fcc-007768e537a2</vt:lpwstr>
  </property>
  <property fmtid="{D5CDD505-2E9C-101B-9397-08002B2CF9AE}" pid="13" name="MSIP_Label_834ed4f5-eae4-40c7-82be-b1cdf720a1b9_ContentBits">
    <vt:lpwstr>0</vt:lpwstr>
  </property>
</Properties>
</file>